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5.xml" ContentType="application/vnd.openxmlformats-officedocument.presentationml.tags+xml"/>
  <Override PartName="/ppt/charts/chart11.xml" ContentType="application/vnd.openxmlformats-officedocument.drawingml.chart+xml"/>
  <Override PartName="/ppt/tags/tag3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7.xml" ContentType="application/vnd.openxmlformats-officedocument.presentationml.tags+xml"/>
  <Override PartName="/ppt/charts/chart16.xml" ContentType="application/vnd.openxmlformats-officedocument.drawingml.chart+xml"/>
  <Override PartName="/ppt/tags/tag38.xml" ContentType="application/vnd.openxmlformats-officedocument.presentationml.tags+xml"/>
  <Override PartName="/ppt/charts/chart17.xml" ContentType="application/vnd.openxmlformats-officedocument.drawingml.chart+xml"/>
  <Override PartName="/ppt/tags/tag39.xml" ContentType="application/vnd.openxmlformats-officedocument.presentationml.tags+xml"/>
  <Override PartName="/ppt/charts/chart18.xml" ContentType="application/vnd.openxmlformats-officedocument.drawingml.chart+xml"/>
  <Override PartName="/ppt/tags/tag4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1.xml" ContentType="application/vnd.openxmlformats-officedocument.presentationml.tags+xml"/>
  <Override PartName="/ppt/charts/chart22.xml" ContentType="application/vnd.openxmlformats-officedocument.drawingml.chart+xml"/>
  <Override PartName="/ppt/tags/tag42.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43.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4.xml" ContentType="application/vnd.openxmlformats-officedocument.presentationml.tags+xml"/>
  <Override PartName="/ppt/charts/chart29.xml" ContentType="application/vnd.openxmlformats-officedocument.drawingml.chart+xml"/>
  <Override PartName="/ppt/tags/tag45.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6.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7.xml" ContentType="application/vnd.openxmlformats-officedocument.presentationml.tags+xml"/>
  <Override PartName="/ppt/charts/chart37.xml" ContentType="application/vnd.openxmlformats-officedocument.drawingml.chart+xml"/>
  <Override PartName="/ppt/tags/tag48.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6"/>
  </p:notesMasterIdLst>
  <p:sldIdLst>
    <p:sldId id="2147475184" r:id="rId5"/>
    <p:sldId id="2147475185" r:id="rId6"/>
    <p:sldId id="2147475186" r:id="rId7"/>
    <p:sldId id="2147475187" r:id="rId8"/>
    <p:sldId id="2147475188" r:id="rId9"/>
    <p:sldId id="2147475189" r:id="rId10"/>
    <p:sldId id="2147475190" r:id="rId11"/>
    <p:sldId id="2147475191" r:id="rId12"/>
    <p:sldId id="2147475192" r:id="rId13"/>
    <p:sldId id="2147475193" r:id="rId14"/>
    <p:sldId id="2147475194" r:id="rId15"/>
    <p:sldId id="2147475195" r:id="rId16"/>
    <p:sldId id="2147475196" r:id="rId17"/>
    <p:sldId id="2147475197" r:id="rId18"/>
    <p:sldId id="2147475198" r:id="rId19"/>
    <p:sldId id="2147475199" r:id="rId20"/>
    <p:sldId id="2147475200" r:id="rId21"/>
    <p:sldId id="2147475201" r:id="rId22"/>
    <p:sldId id="2147475202" r:id="rId23"/>
    <p:sldId id="2147475203" r:id="rId24"/>
    <p:sldId id="2147475204"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lang="en-US"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902696563217604E-2</c:v>
                </c:pt>
                <c:pt idx="1">
                  <c:v>5.6630509127297259E-2</c:v>
                </c:pt>
                <c:pt idx="2">
                  <c:v>4.9936740943821188E-2</c:v>
                </c:pt>
                <c:pt idx="3">
                  <c:v>4.4755762845946241E-2</c:v>
                </c:pt>
                <c:pt idx="4">
                  <c:v>4.2176116851182888E-2</c:v>
                </c:pt>
                <c:pt idx="5">
                  <c:v>4.1731319923749469E-2</c:v>
                </c:pt>
                <c:pt idx="6">
                  <c:v>3.3706068333904937E-2</c:v>
                </c:pt>
                <c:pt idx="7">
                  <c:v>3.0363668090319727E-2</c:v>
                </c:pt>
                <c:pt idx="8">
                  <c:v>2.6779876806918835E-2</c:v>
                </c:pt>
                <c:pt idx="9">
                  <c:v>2.6164416104421797E-2</c:v>
                </c:pt>
                <c:pt idx="10">
                  <c:v>2.2902034357684922E-2</c:v>
                </c:pt>
                <c:pt idx="11">
                  <c:v>2.2275396443576765E-2</c:v>
                </c:pt>
                <c:pt idx="12">
                  <c:v>2.2036516997081815E-2</c:v>
                </c:pt>
                <c:pt idx="13">
                  <c:v>1.9843970616742344E-2</c:v>
                </c:pt>
                <c:pt idx="14">
                  <c:v>1.894420717595607E-2</c:v>
                </c:pt>
                <c:pt idx="15">
                  <c:v>1.7135871823037819E-2</c:v>
                </c:pt>
                <c:pt idx="16">
                  <c:v>1.6840448858584996E-2</c:v>
                </c:pt>
                <c:pt idx="17">
                  <c:v>1.6787939975265297E-2</c:v>
                </c:pt>
                <c:pt idx="18">
                  <c:v>1.5113034678783461E-2</c:v>
                </c:pt>
                <c:pt idx="19">
                  <c:v>1.469089529183296E-2</c:v>
                </c:pt>
                <c:pt idx="20">
                  <c:v>1.4331332006337436E-2</c:v>
                </c:pt>
                <c:pt idx="21">
                  <c:v>1.3863142051431918E-2</c:v>
                </c:pt>
                <c:pt idx="22">
                  <c:v>1.3249671453159296E-2</c:v>
                </c:pt>
                <c:pt idx="23">
                  <c:v>1.2193855474078891E-2</c:v>
                </c:pt>
                <c:pt idx="24">
                  <c:v>1.2016338477234155E-2</c:v>
                </c:pt>
                <c:pt idx="25">
                  <c:v>1.1890542110341752E-2</c:v>
                </c:pt>
                <c:pt idx="26">
                  <c:v>1.1771670177805981E-2</c:v>
                </c:pt>
                <c:pt idx="27">
                  <c:v>1.1642339718564343E-2</c:v>
                </c:pt>
                <c:pt idx="28">
                  <c:v>1.0776043796204681E-2</c:v>
                </c:pt>
                <c:pt idx="29">
                  <c:v>1.0445451555638492E-2</c:v>
                </c:pt>
                <c:pt idx="30">
                  <c:v>1.022278626788393E-2</c:v>
                </c:pt>
                <c:pt idx="31">
                  <c:v>9.8064959956690335E-3</c:v>
                </c:pt>
                <c:pt idx="32">
                  <c:v>9.7450206900186846E-3</c:v>
                </c:pt>
                <c:pt idx="33">
                  <c:v>9.5754875764672183E-3</c:v>
                </c:pt>
                <c:pt idx="34">
                  <c:v>9.3637388663031437E-3</c:v>
                </c:pt>
                <c:pt idx="35">
                  <c:v>9.2146761267718185E-3</c:v>
                </c:pt>
                <c:pt idx="36">
                  <c:v>9.1649070939618764E-3</c:v>
                </c:pt>
                <c:pt idx="37">
                  <c:v>9.1260705283526915E-3</c:v>
                </c:pt>
                <c:pt idx="38">
                  <c:v>9.0884901947301325E-3</c:v>
                </c:pt>
                <c:pt idx="39">
                  <c:v>7.4498045104562129E-3</c:v>
                </c:pt>
                <c:pt idx="40">
                  <c:v>7.1646108884885311E-3</c:v>
                </c:pt>
                <c:pt idx="41">
                  <c:v>6.9252414679242744E-3</c:v>
                </c:pt>
                <c:pt idx="42">
                  <c:v>6.862113537492589E-3</c:v>
                </c:pt>
                <c:pt idx="43">
                  <c:v>6.8001331637889293E-3</c:v>
                </c:pt>
                <c:pt idx="44">
                  <c:v>6.5833476123778973E-3</c:v>
                </c:pt>
                <c:pt idx="45">
                  <c:v>6.492117934340986E-3</c:v>
                </c:pt>
                <c:pt idx="46">
                  <c:v>6.406379588858398E-3</c:v>
                </c:pt>
                <c:pt idx="47">
                  <c:v>6.0352459632930355E-3</c:v>
                </c:pt>
                <c:pt idx="48">
                  <c:v>5.9756640830342994E-3</c:v>
                </c:pt>
                <c:pt idx="49">
                  <c:v>5.4795632183837917E-3</c:v>
                </c:pt>
                <c:pt idx="50">
                  <c:v>5.166198323589449E-3</c:v>
                </c:pt>
                <c:pt idx="51">
                  <c:v>5.1460421165477029E-3</c:v>
                </c:pt>
                <c:pt idx="52">
                  <c:v>4.9484084069518807E-3</c:v>
                </c:pt>
                <c:pt idx="53">
                  <c:v>4.7480763756090824E-3</c:v>
                </c:pt>
                <c:pt idx="54">
                  <c:v>4.6408149680953071E-3</c:v>
                </c:pt>
                <c:pt idx="55">
                  <c:v>4.6398858998477508E-3</c:v>
                </c:pt>
                <c:pt idx="56">
                  <c:v>4.5295746495927257E-3</c:v>
                </c:pt>
                <c:pt idx="57">
                  <c:v>4.4782357718375441E-3</c:v>
                </c:pt>
                <c:pt idx="58">
                  <c:v>4.0913611404720185E-3</c:v>
                </c:pt>
                <c:pt idx="59">
                  <c:v>4.0604046377638219E-3</c:v>
                </c:pt>
                <c:pt idx="60">
                  <c:v>3.8997032300004705E-3</c:v>
                </c:pt>
                <c:pt idx="61">
                  <c:v>3.7592016307576325E-3</c:v>
                </c:pt>
                <c:pt idx="62">
                  <c:v>3.5737618876323885E-3</c:v>
                </c:pt>
                <c:pt idx="63">
                  <c:v>3.4028550133423366E-3</c:v>
                </c:pt>
                <c:pt idx="64">
                  <c:v>3.0207410873285844E-3</c:v>
                </c:pt>
                <c:pt idx="65">
                  <c:v>2.9884937202429296E-3</c:v>
                </c:pt>
                <c:pt idx="66">
                  <c:v>2.7667207756866727E-3</c:v>
                </c:pt>
                <c:pt idx="67">
                  <c:v>2.6770993922014996E-3</c:v>
                </c:pt>
                <c:pt idx="68">
                  <c:v>1.8526328014753127E-3</c:v>
                </c:pt>
                <c:pt idx="69">
                  <c:v>1.6413048509523285E-3</c:v>
                </c:pt>
                <c:pt idx="70">
                  <c:v>1.6150046548574393E-3</c:v>
                </c:pt>
                <c:pt idx="71">
                  <c:v>1.4827972271626467E-3</c:v>
                </c:pt>
                <c:pt idx="72">
                  <c:v>1.465708457961776E-3</c:v>
                </c:pt>
                <c:pt idx="73">
                  <c:v>1.2778729649721068E-3</c:v>
                </c:pt>
                <c:pt idx="74">
                  <c:v>1.1971447721517538E-3</c:v>
                </c:pt>
                <c:pt idx="75">
                  <c:v>1.1359343029434317E-3</c:v>
                </c:pt>
                <c:pt idx="76">
                  <c:v>1.1155725592433417E-3</c:v>
                </c:pt>
                <c:pt idx="77">
                  <c:v>1.0742914257065115E-3</c:v>
                </c:pt>
                <c:pt idx="78">
                  <c:v>9.0361949440726538E-4</c:v>
                </c:pt>
                <c:pt idx="79">
                  <c:v>7.1063984230039924E-4</c:v>
                </c:pt>
                <c:pt idx="80">
                  <c:v>6.1012367964522829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lang="en-US"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5363330782884E-2</c:v>
                </c:pt>
                <c:pt idx="1">
                  <c:v>5.7663352032594602E-2</c:v>
                </c:pt>
                <c:pt idx="2">
                  <c:v>5.100430735339255E-2</c:v>
                </c:pt>
                <c:pt idx="3">
                  <c:v>4.5244427178931665E-2</c:v>
                </c:pt>
                <c:pt idx="4">
                  <c:v>4.3501885721937132E-2</c:v>
                </c:pt>
                <c:pt idx="5">
                  <c:v>4.3476876429684994E-2</c:v>
                </c:pt>
                <c:pt idx="6">
                  <c:v>3.5586986484869958E-2</c:v>
                </c:pt>
                <c:pt idx="7">
                  <c:v>3.1145622055832978E-2</c:v>
                </c:pt>
                <c:pt idx="8">
                  <c:v>2.7945082488151429E-2</c:v>
                </c:pt>
                <c:pt idx="9">
                  <c:v>2.7192715317405393E-2</c:v>
                </c:pt>
                <c:pt idx="10">
                  <c:v>2.2663886467339446E-2</c:v>
                </c:pt>
                <c:pt idx="11">
                  <c:v>2.2604789329574135E-2</c:v>
                </c:pt>
                <c:pt idx="12">
                  <c:v>2.0304248410633108E-2</c:v>
                </c:pt>
                <c:pt idx="13">
                  <c:v>1.9410380477848672E-2</c:v>
                </c:pt>
                <c:pt idx="14">
                  <c:v>1.7286745111879054E-2</c:v>
                </c:pt>
                <c:pt idx="15">
                  <c:v>1.7246761206306652E-2</c:v>
                </c:pt>
                <c:pt idx="16">
                  <c:v>1.7106427601497297E-2</c:v>
                </c:pt>
                <c:pt idx="17">
                  <c:v>1.5264032808869055E-2</c:v>
                </c:pt>
                <c:pt idx="18">
                  <c:v>1.4793966406515978E-2</c:v>
                </c:pt>
                <c:pt idx="19">
                  <c:v>1.4620560027625927E-2</c:v>
                </c:pt>
                <c:pt idx="20">
                  <c:v>1.4058945045949199E-2</c:v>
                </c:pt>
                <c:pt idx="21">
                  <c:v>1.3479982977963672E-2</c:v>
                </c:pt>
                <c:pt idx="22">
                  <c:v>1.2432714629695902E-2</c:v>
                </c:pt>
                <c:pt idx="23">
                  <c:v>1.2194142376778712E-2</c:v>
                </c:pt>
                <c:pt idx="24">
                  <c:v>1.1996797459990095E-2</c:v>
                </c:pt>
                <c:pt idx="25">
                  <c:v>1.1980051767330586E-2</c:v>
                </c:pt>
                <c:pt idx="26">
                  <c:v>1.174717905662644E-2</c:v>
                </c:pt>
                <c:pt idx="27">
                  <c:v>1.0815544310509989E-2</c:v>
                </c:pt>
                <c:pt idx="28">
                  <c:v>1.0518114933601519E-2</c:v>
                </c:pt>
                <c:pt idx="29">
                  <c:v>1.0338663898469823E-2</c:v>
                </c:pt>
                <c:pt idx="30">
                  <c:v>9.8754535506714158E-3</c:v>
                </c:pt>
                <c:pt idx="31">
                  <c:v>9.8613851497115976E-3</c:v>
                </c:pt>
                <c:pt idx="32">
                  <c:v>9.7107846280639031E-3</c:v>
                </c:pt>
                <c:pt idx="33">
                  <c:v>9.5984375113375119E-3</c:v>
                </c:pt>
                <c:pt idx="34">
                  <c:v>9.2635009997645464E-3</c:v>
                </c:pt>
                <c:pt idx="35">
                  <c:v>9.2421709185695079E-3</c:v>
                </c:pt>
                <c:pt idx="36">
                  <c:v>9.241758438943027E-3</c:v>
                </c:pt>
                <c:pt idx="37">
                  <c:v>9.2331230824961395E-3</c:v>
                </c:pt>
                <c:pt idx="38">
                  <c:v>7.5372376652848242E-3</c:v>
                </c:pt>
                <c:pt idx="39">
                  <c:v>7.2008462027806641E-3</c:v>
                </c:pt>
                <c:pt idx="40">
                  <c:v>7.0067565630807125E-3</c:v>
                </c:pt>
                <c:pt idx="41">
                  <c:v>6.9281788120882405E-3</c:v>
                </c:pt>
                <c:pt idx="42">
                  <c:v>6.8380039197245522E-3</c:v>
                </c:pt>
                <c:pt idx="43">
                  <c:v>6.6385242304431028E-3</c:v>
                </c:pt>
                <c:pt idx="44">
                  <c:v>6.5586196581957608E-3</c:v>
                </c:pt>
                <c:pt idx="45">
                  <c:v>6.5019497107507412E-3</c:v>
                </c:pt>
                <c:pt idx="46">
                  <c:v>6.1302037575084239E-3</c:v>
                </c:pt>
                <c:pt idx="47">
                  <c:v>6.0436865902149649E-3</c:v>
                </c:pt>
                <c:pt idx="48">
                  <c:v>5.546865072915721E-3</c:v>
                </c:pt>
                <c:pt idx="49">
                  <c:v>5.2660150102755614E-3</c:v>
                </c:pt>
                <c:pt idx="50">
                  <c:v>5.2198578960517654E-3</c:v>
                </c:pt>
                <c:pt idx="51">
                  <c:v>5.0279370627387089E-3</c:v>
                </c:pt>
                <c:pt idx="52">
                  <c:v>4.8299454633874053E-3</c:v>
                </c:pt>
                <c:pt idx="53">
                  <c:v>4.8040544314569139E-3</c:v>
                </c:pt>
                <c:pt idx="54">
                  <c:v>4.70637819539684E-3</c:v>
                </c:pt>
                <c:pt idx="55">
                  <c:v>4.581676025599335E-3</c:v>
                </c:pt>
                <c:pt idx="56">
                  <c:v>4.5280570247461568E-3</c:v>
                </c:pt>
                <c:pt idx="57">
                  <c:v>4.1590085170050625E-3</c:v>
                </c:pt>
                <c:pt idx="58">
                  <c:v>4.0981605228296199E-3</c:v>
                </c:pt>
                <c:pt idx="59">
                  <c:v>3.9385843665243597E-3</c:v>
                </c:pt>
                <c:pt idx="60">
                  <c:v>3.7802171237880651E-3</c:v>
                </c:pt>
                <c:pt idx="61">
                  <c:v>3.6439012260804011E-3</c:v>
                </c:pt>
                <c:pt idx="62">
                  <c:v>3.4456504339253542E-3</c:v>
                </c:pt>
                <c:pt idx="63">
                  <c:v>3.0843979620152847E-3</c:v>
                </c:pt>
                <c:pt idx="64">
                  <c:v>3.0818098712687048E-3</c:v>
                </c:pt>
                <c:pt idx="65">
                  <c:v>3.0506102977676435E-3</c:v>
                </c:pt>
                <c:pt idx="66">
                  <c:v>2.7786697426925807E-3</c:v>
                </c:pt>
                <c:pt idx="67">
                  <c:v>2.6824828126553678E-3</c:v>
                </c:pt>
                <c:pt idx="68">
                  <c:v>1.8634259624505827E-3</c:v>
                </c:pt>
                <c:pt idx="69">
                  <c:v>1.6473505071384095E-3</c:v>
                </c:pt>
                <c:pt idx="70">
                  <c:v>1.6337335887432545E-3</c:v>
                </c:pt>
                <c:pt idx="71">
                  <c:v>1.4964265329615782E-3</c:v>
                </c:pt>
                <c:pt idx="72">
                  <c:v>1.4845445129406797E-3</c:v>
                </c:pt>
                <c:pt idx="73">
                  <c:v>1.2877617639683375E-3</c:v>
                </c:pt>
                <c:pt idx="74">
                  <c:v>1.2281968971605529E-3</c:v>
                </c:pt>
                <c:pt idx="75">
                  <c:v>1.1518228308905983E-3</c:v>
                </c:pt>
                <c:pt idx="76">
                  <c:v>1.1221703086607298E-3</c:v>
                </c:pt>
                <c:pt idx="77">
                  <c:v>1.0797803405679905E-3</c:v>
                </c:pt>
                <c:pt idx="78">
                  <c:v>9.1722636643628869E-4</c:v>
                </c:pt>
                <c:pt idx="79">
                  <c:v>7.1478341686742207E-4</c:v>
                </c:pt>
                <c:pt idx="80">
                  <c:v>6.1732382387483351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206.23259008252353</c:v>
                </c:pt>
                <c:pt idx="1">
                  <c:v>140.18814601698699</c:v>
                </c:pt>
                <c:pt idx="2">
                  <c:v>143.17403026146178</c:v>
                </c:pt>
                <c:pt idx="3">
                  <c:v>458.94919183910156</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214.00129936485231</c:v>
                </c:pt>
                <c:pt idx="1">
                  <c:v>143.44649542245381</c:v>
                </c:pt>
                <c:pt idx="2">
                  <c:v>140.46699601443333</c:v>
                </c:pt>
                <c:pt idx="3">
                  <c:v>334.647064538991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212.53536054399723</c:v>
                </c:pt>
                <c:pt idx="1">
                  <c:v>146.89964389334978</c:v>
                </c:pt>
                <c:pt idx="2">
                  <c:v>121.80832831678146</c:v>
                </c:pt>
                <c:pt idx="3">
                  <c:v>325.81391223252319</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0200645944209164E-2</c:v>
                </c:pt>
                <c:pt idx="1">
                  <c:v>4.9475727089901909E-2</c:v>
                </c:pt>
                <c:pt idx="2">
                  <c:v>3.9654566115325467E-2</c:v>
                </c:pt>
                <c:pt idx="3">
                  <c:v>2.7610977645276896E-2</c:v>
                </c:pt>
                <c:pt idx="4">
                  <c:v>2.9304774676602384E-2</c:v>
                </c:pt>
                <c:pt idx="5">
                  <c:v>2.7941536866177355E-2</c:v>
                </c:pt>
                <c:pt idx="6">
                  <c:v>2.5515503283629275E-2</c:v>
                </c:pt>
                <c:pt idx="7">
                  <c:v>2.6235033920236666E-2</c:v>
                </c:pt>
                <c:pt idx="8">
                  <c:v>2.5161615886038241E-2</c:v>
                </c:pt>
                <c:pt idx="9">
                  <c:v>2.265206039296699E-2</c:v>
                </c:pt>
                <c:pt idx="10">
                  <c:v>2.028586203986902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9633871259705443E-2</c:v>
                </c:pt>
                <c:pt idx="1">
                  <c:v>5.922784457968519E-2</c:v>
                </c:pt>
                <c:pt idx="2">
                  <c:v>3.6450407068832166E-2</c:v>
                </c:pt>
                <c:pt idx="3">
                  <c:v>3.6136869492586272E-2</c:v>
                </c:pt>
                <c:pt idx="4">
                  <c:v>4.4444071845679355E-2</c:v>
                </c:pt>
                <c:pt idx="5">
                  <c:v>2.7680119672620591E-2</c:v>
                </c:pt>
                <c:pt idx="6">
                  <c:v>2.759075676902643E-2</c:v>
                </c:pt>
                <c:pt idx="7">
                  <c:v>2.4733816967755853E-2</c:v>
                </c:pt>
                <c:pt idx="8">
                  <c:v>2.2787901459555816E-2</c:v>
                </c:pt>
                <c:pt idx="9">
                  <c:v>2.4743402780309069E-2</c:v>
                </c:pt>
                <c:pt idx="10">
                  <c:v>2.6389677390072815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2971425273393359E-2</c:v>
                </c:pt>
                <c:pt idx="1">
                  <c:v>4.6030223846736509E-2</c:v>
                </c:pt>
                <c:pt idx="2">
                  <c:v>3.7522353519911573E-2</c:v>
                </c:pt>
                <c:pt idx="3">
                  <c:v>3.7332197183649891E-2</c:v>
                </c:pt>
                <c:pt idx="4">
                  <c:v>3.2895586638205486E-2</c:v>
                </c:pt>
                <c:pt idx="5">
                  <c:v>2.1899565137899521E-2</c:v>
                </c:pt>
                <c:pt idx="6">
                  <c:v>2.5329025010254216E-2</c:v>
                </c:pt>
                <c:pt idx="7">
                  <c:v>2.493543879889602E-2</c:v>
                </c:pt>
                <c:pt idx="8">
                  <c:v>2.4901879390780236E-2</c:v>
                </c:pt>
                <c:pt idx="9">
                  <c:v>2.0902492445837705E-2</c:v>
                </c:pt>
                <c:pt idx="10">
                  <c:v>2.4120583750271249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5779112886499449E-2</c:v>
                </c:pt>
                <c:pt idx="1">
                  <c:v>4.775289498011611E-2</c:v>
                </c:pt>
                <c:pt idx="2">
                  <c:v>3.4409851628488627E-2</c:v>
                </c:pt>
                <c:pt idx="3">
                  <c:v>3.96819797020872E-2</c:v>
                </c:pt>
                <c:pt idx="4">
                  <c:v>2.875422641490925E-2</c:v>
                </c:pt>
                <c:pt idx="5">
                  <c:v>2.4431862219022871E-2</c:v>
                </c:pt>
                <c:pt idx="6">
                  <c:v>2.3498127841630537E-2</c:v>
                </c:pt>
                <c:pt idx="7">
                  <c:v>1.971761282814723E-2</c:v>
                </c:pt>
                <c:pt idx="8">
                  <c:v>2.2323585054478619E-2</c:v>
                </c:pt>
                <c:pt idx="9">
                  <c:v>2.4213425691536436E-2</c:v>
                </c:pt>
                <c:pt idx="10">
                  <c:v>2.1711277649206582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lang="de-DE"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279745748951913E-2</c:v>
                </c:pt>
                <c:pt idx="1">
                  <c:v>5.7330186046269632E-2</c:v>
                </c:pt>
                <c:pt idx="2">
                  <c:v>5.0906822369047866E-2</c:v>
                </c:pt>
                <c:pt idx="3">
                  <c:v>4.5215098983439617E-2</c:v>
                </c:pt>
                <c:pt idx="4">
                  <c:v>4.3320292450544647E-2</c:v>
                </c:pt>
                <c:pt idx="5">
                  <c:v>4.3299940262499281E-2</c:v>
                </c:pt>
                <c:pt idx="6">
                  <c:v>3.5445420119642246E-2</c:v>
                </c:pt>
                <c:pt idx="7">
                  <c:v>3.0788154377908127E-2</c:v>
                </c:pt>
                <c:pt idx="8">
                  <c:v>2.7837592247600716E-2</c:v>
                </c:pt>
                <c:pt idx="9">
                  <c:v>2.7038394116647643E-2</c:v>
                </c:pt>
                <c:pt idx="10">
                  <c:v>2.2604359134739418E-2</c:v>
                </c:pt>
                <c:pt idx="11">
                  <c:v>2.2502086870494972E-2</c:v>
                </c:pt>
                <c:pt idx="12">
                  <c:v>2.0249018203589892E-2</c:v>
                </c:pt>
                <c:pt idx="13">
                  <c:v>1.9244945763502174E-2</c:v>
                </c:pt>
                <c:pt idx="14">
                  <c:v>1.7245093285664304E-2</c:v>
                </c:pt>
                <c:pt idx="15">
                  <c:v>1.720739446513277E-2</c:v>
                </c:pt>
                <c:pt idx="16">
                  <c:v>1.7073598876736491E-2</c:v>
                </c:pt>
                <c:pt idx="17">
                  <c:v>1.5275553594789644E-2</c:v>
                </c:pt>
                <c:pt idx="18">
                  <c:v>1.4740981171594385E-2</c:v>
                </c:pt>
                <c:pt idx="19">
                  <c:v>1.4624040545895518E-2</c:v>
                </c:pt>
                <c:pt idx="20">
                  <c:v>1.4021768440744884E-2</c:v>
                </c:pt>
                <c:pt idx="21">
                  <c:v>1.3440277690623356E-2</c:v>
                </c:pt>
                <c:pt idx="22">
                  <c:v>1.2420658702863531E-2</c:v>
                </c:pt>
                <c:pt idx="23">
                  <c:v>1.1985505050102763E-2</c:v>
                </c:pt>
                <c:pt idx="24">
                  <c:v>1.1934742573578169E-2</c:v>
                </c:pt>
                <c:pt idx="25">
                  <c:v>1.1859054772739561E-2</c:v>
                </c:pt>
                <c:pt idx="26">
                  <c:v>1.1751697181935953E-2</c:v>
                </c:pt>
                <c:pt idx="27">
                  <c:v>1.0830418230169872E-2</c:v>
                </c:pt>
                <c:pt idx="28">
                  <c:v>1.0527232760568373E-2</c:v>
                </c:pt>
                <c:pt idx="29">
                  <c:v>1.0330638677453645E-2</c:v>
                </c:pt>
                <c:pt idx="30">
                  <c:v>9.8701037817581355E-3</c:v>
                </c:pt>
                <c:pt idx="31">
                  <c:v>9.8502427788242936E-3</c:v>
                </c:pt>
                <c:pt idx="32">
                  <c:v>9.7116144622161945E-3</c:v>
                </c:pt>
                <c:pt idx="33">
                  <c:v>9.5845056662039463E-3</c:v>
                </c:pt>
                <c:pt idx="34">
                  <c:v>9.2740183437715895E-3</c:v>
                </c:pt>
                <c:pt idx="35">
                  <c:v>9.2426625879453751E-3</c:v>
                </c:pt>
                <c:pt idx="36">
                  <c:v>9.2252254936215257E-3</c:v>
                </c:pt>
                <c:pt idx="37">
                  <c:v>9.2107685644553464E-3</c:v>
                </c:pt>
                <c:pt idx="38">
                  <c:v>7.5354718150281615E-3</c:v>
                </c:pt>
                <c:pt idx="39">
                  <c:v>7.2190138070775253E-3</c:v>
                </c:pt>
                <c:pt idx="40">
                  <c:v>7.0078156779096335E-3</c:v>
                </c:pt>
                <c:pt idx="41">
                  <c:v>6.9388286615621013E-3</c:v>
                </c:pt>
                <c:pt idx="42">
                  <c:v>6.8145368965287934E-3</c:v>
                </c:pt>
                <c:pt idx="43">
                  <c:v>6.635381666727589E-3</c:v>
                </c:pt>
                <c:pt idx="44">
                  <c:v>6.6323164170590792E-3</c:v>
                </c:pt>
                <c:pt idx="45">
                  <c:v>6.5505596589092779E-3</c:v>
                </c:pt>
                <c:pt idx="46">
                  <c:v>6.4104650578671388E-3</c:v>
                </c:pt>
                <c:pt idx="47">
                  <c:v>6.0602388075183264E-3</c:v>
                </c:pt>
                <c:pt idx="48">
                  <c:v>6.0446643171101983E-3</c:v>
                </c:pt>
                <c:pt idx="49">
                  <c:v>5.540567097499987E-3</c:v>
                </c:pt>
                <c:pt idx="50">
                  <c:v>5.2478670617161364E-3</c:v>
                </c:pt>
                <c:pt idx="51">
                  <c:v>5.1722228293137381E-3</c:v>
                </c:pt>
                <c:pt idx="52">
                  <c:v>4.9986771867869435E-3</c:v>
                </c:pt>
                <c:pt idx="53">
                  <c:v>4.7524848430044939E-3</c:v>
                </c:pt>
                <c:pt idx="54">
                  <c:v>4.7188895512816492E-3</c:v>
                </c:pt>
                <c:pt idx="55">
                  <c:v>4.705122814526559E-3</c:v>
                </c:pt>
                <c:pt idx="56">
                  <c:v>4.5782146955696389E-3</c:v>
                </c:pt>
                <c:pt idx="57">
                  <c:v>4.5353591652840105E-3</c:v>
                </c:pt>
                <c:pt idx="58">
                  <c:v>4.0974150769131773E-3</c:v>
                </c:pt>
                <c:pt idx="59">
                  <c:v>4.0785913555673433E-3</c:v>
                </c:pt>
                <c:pt idx="60">
                  <c:v>3.9463340624189963E-3</c:v>
                </c:pt>
                <c:pt idx="61">
                  <c:v>3.7754865213418596E-3</c:v>
                </c:pt>
                <c:pt idx="62">
                  <c:v>3.6288706681206844E-3</c:v>
                </c:pt>
                <c:pt idx="63">
                  <c:v>3.4300473691577871E-3</c:v>
                </c:pt>
                <c:pt idx="64">
                  <c:v>3.0561008277862956E-3</c:v>
                </c:pt>
                <c:pt idx="65">
                  <c:v>3.0011961146522224E-3</c:v>
                </c:pt>
                <c:pt idx="66">
                  <c:v>2.7686820754162299E-3</c:v>
                </c:pt>
                <c:pt idx="67">
                  <c:v>2.67984917803678E-3</c:v>
                </c:pt>
                <c:pt idx="68">
                  <c:v>1.8576646074715904E-3</c:v>
                </c:pt>
                <c:pt idx="69">
                  <c:v>1.6475155711525755E-3</c:v>
                </c:pt>
                <c:pt idx="70">
                  <c:v>1.6134367926380812E-3</c:v>
                </c:pt>
                <c:pt idx="71">
                  <c:v>1.4815968775138565E-3</c:v>
                </c:pt>
                <c:pt idx="72">
                  <c:v>1.4765463999821431E-3</c:v>
                </c:pt>
                <c:pt idx="73">
                  <c:v>1.2825265251187516E-3</c:v>
                </c:pt>
                <c:pt idx="74">
                  <c:v>1.2242089283641315E-3</c:v>
                </c:pt>
                <c:pt idx="75">
                  <c:v>1.1451106870791381E-3</c:v>
                </c:pt>
                <c:pt idx="76">
                  <c:v>1.1125017629471565E-3</c:v>
                </c:pt>
                <c:pt idx="77">
                  <c:v>1.0789578770601588E-3</c:v>
                </c:pt>
                <c:pt idx="78">
                  <c:v>8.9715100626142812E-4</c:v>
                </c:pt>
                <c:pt idx="79">
                  <c:v>7.1337245027158422E-4</c:v>
                </c:pt>
                <c:pt idx="80">
                  <c:v>6.082848421790986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3762497243301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2.773996101386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2.839513081292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7.2441495258908986E-2</c:v>
                </c:pt>
                <c:pt idx="1">
                  <c:v>6.2789287520173723E-2</c:v>
                </c:pt>
                <c:pt idx="2">
                  <c:v>5.6643807880514249E-2</c:v>
                </c:pt>
                <c:pt idx="3">
                  <c:v>5.3927246749139041E-2</c:v>
                </c:pt>
                <c:pt idx="4">
                  <c:v>4.338257247325799E-2</c:v>
                </c:pt>
                <c:pt idx="5">
                  <c:v>3.7605827154158583E-2</c:v>
                </c:pt>
                <c:pt idx="6">
                  <c:v>3.2605532137742262E-2</c:v>
                </c:pt>
                <c:pt idx="7">
                  <c:v>3.0284138650425129E-2</c:v>
                </c:pt>
                <c:pt idx="8">
                  <c:v>3.0051898510502634E-2</c:v>
                </c:pt>
                <c:pt idx="9">
                  <c:v>2.8070805129154282E-2</c:v>
                </c:pt>
                <c:pt idx="10">
                  <c:v>2.684733868513340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lang="de-DE"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3843362357862337E-2</c:v>
                </c:pt>
                <c:pt idx="1">
                  <c:v>5.7307294250152976E-2</c:v>
                </c:pt>
                <c:pt idx="2">
                  <c:v>5.0566428764383352E-2</c:v>
                </c:pt>
                <c:pt idx="3">
                  <c:v>4.5081866746129504E-2</c:v>
                </c:pt>
                <c:pt idx="4">
                  <c:v>4.272067179358166E-2</c:v>
                </c:pt>
                <c:pt idx="5">
                  <c:v>4.2605313468364055E-2</c:v>
                </c:pt>
                <c:pt idx="6">
                  <c:v>3.4832927857257986E-2</c:v>
                </c:pt>
                <c:pt idx="7">
                  <c:v>3.0939215037911343E-2</c:v>
                </c:pt>
                <c:pt idx="8">
                  <c:v>2.7632510860933886E-2</c:v>
                </c:pt>
                <c:pt idx="9">
                  <c:v>2.6910445565475328E-2</c:v>
                </c:pt>
                <c:pt idx="10">
                  <c:v>2.2499534785646192E-2</c:v>
                </c:pt>
                <c:pt idx="11">
                  <c:v>2.2459224984974425E-2</c:v>
                </c:pt>
                <c:pt idx="12">
                  <c:v>2.0200444346063214E-2</c:v>
                </c:pt>
                <c:pt idx="13">
                  <c:v>1.9297113833026427E-2</c:v>
                </c:pt>
                <c:pt idx="14">
                  <c:v>1.7239426522223242E-2</c:v>
                </c:pt>
                <c:pt idx="15">
                  <c:v>1.7052940516735025E-2</c:v>
                </c:pt>
                <c:pt idx="16">
                  <c:v>1.6999474085822943E-2</c:v>
                </c:pt>
                <c:pt idx="17">
                  <c:v>1.5199921496095821E-2</c:v>
                </c:pt>
                <c:pt idx="18">
                  <c:v>1.4725115685420715E-2</c:v>
                </c:pt>
                <c:pt idx="19">
                  <c:v>1.4468774511018676E-2</c:v>
                </c:pt>
                <c:pt idx="20">
                  <c:v>1.3899020672260107E-2</c:v>
                </c:pt>
                <c:pt idx="21">
                  <c:v>1.3417527523480478E-2</c:v>
                </c:pt>
                <c:pt idx="22">
                  <c:v>1.2377115939788319E-2</c:v>
                </c:pt>
                <c:pt idx="23">
                  <c:v>1.2129982791799589E-2</c:v>
                </c:pt>
                <c:pt idx="24">
                  <c:v>1.1963631765519584E-2</c:v>
                </c:pt>
                <c:pt idx="25">
                  <c:v>1.1932812569894166E-2</c:v>
                </c:pt>
                <c:pt idx="26">
                  <c:v>1.1711869575189998E-2</c:v>
                </c:pt>
                <c:pt idx="27">
                  <c:v>1.0801167833586318E-2</c:v>
                </c:pt>
                <c:pt idx="28">
                  <c:v>1.0740100112679583E-2</c:v>
                </c:pt>
                <c:pt idx="29">
                  <c:v>1.047888600105833E-2</c:v>
                </c:pt>
                <c:pt idx="30">
                  <c:v>1.0347080984241509E-2</c:v>
                </c:pt>
                <c:pt idx="31">
                  <c:v>9.8515082873021804E-3</c:v>
                </c:pt>
                <c:pt idx="32">
                  <c:v>9.8075488828958841E-3</c:v>
                </c:pt>
                <c:pt idx="33">
                  <c:v>9.6730778232380771E-3</c:v>
                </c:pt>
                <c:pt idx="34">
                  <c:v>9.4105545396553809E-3</c:v>
                </c:pt>
                <c:pt idx="35">
                  <c:v>9.2458918077018004E-3</c:v>
                </c:pt>
                <c:pt idx="36">
                  <c:v>9.1991131658186003E-3</c:v>
                </c:pt>
                <c:pt idx="37">
                  <c:v>9.1920574137083714E-3</c:v>
                </c:pt>
                <c:pt idx="38">
                  <c:v>9.1708562385104837E-3</c:v>
                </c:pt>
                <c:pt idx="39">
                  <c:v>7.4953833199175755E-3</c:v>
                </c:pt>
                <c:pt idx="40">
                  <c:v>7.1873404875603432E-3</c:v>
                </c:pt>
                <c:pt idx="41">
                  <c:v>6.9903925517730116E-3</c:v>
                </c:pt>
                <c:pt idx="42">
                  <c:v>6.9345869235413323E-3</c:v>
                </c:pt>
                <c:pt idx="43">
                  <c:v>6.8323113344280857E-3</c:v>
                </c:pt>
                <c:pt idx="44">
                  <c:v>6.5962338213213225E-3</c:v>
                </c:pt>
                <c:pt idx="45">
                  <c:v>6.547422965411602E-3</c:v>
                </c:pt>
                <c:pt idx="46">
                  <c:v>6.4728089358549032E-3</c:v>
                </c:pt>
                <c:pt idx="47">
                  <c:v>6.0848639301297157E-3</c:v>
                </c:pt>
                <c:pt idx="48">
                  <c:v>6.0012737285524542E-3</c:v>
                </c:pt>
                <c:pt idx="49">
                  <c:v>5.5364197291669325E-3</c:v>
                </c:pt>
                <c:pt idx="50">
                  <c:v>5.1945753000673788E-3</c:v>
                </c:pt>
                <c:pt idx="51">
                  <c:v>5.1758767102001958E-3</c:v>
                </c:pt>
                <c:pt idx="52">
                  <c:v>4.9811858353435851E-3</c:v>
                </c:pt>
                <c:pt idx="53">
                  <c:v>4.8034672405054078E-3</c:v>
                </c:pt>
                <c:pt idx="54">
                  <c:v>4.7575483082759919E-3</c:v>
                </c:pt>
                <c:pt idx="55">
                  <c:v>4.6937978552513276E-3</c:v>
                </c:pt>
                <c:pt idx="56">
                  <c:v>4.5524995162523558E-3</c:v>
                </c:pt>
                <c:pt idx="57">
                  <c:v>4.5222927380685236E-3</c:v>
                </c:pt>
                <c:pt idx="58">
                  <c:v>4.1358457422071082E-3</c:v>
                </c:pt>
                <c:pt idx="59">
                  <c:v>4.0986003444839882E-3</c:v>
                </c:pt>
                <c:pt idx="60">
                  <c:v>3.9278246038185879E-3</c:v>
                </c:pt>
                <c:pt idx="61">
                  <c:v>3.7785224662344606E-3</c:v>
                </c:pt>
                <c:pt idx="62">
                  <c:v>3.6053221282611072E-3</c:v>
                </c:pt>
                <c:pt idx="63">
                  <c:v>3.4051733918308968E-3</c:v>
                </c:pt>
                <c:pt idx="64">
                  <c:v>3.056531774871312E-3</c:v>
                </c:pt>
                <c:pt idx="65">
                  <c:v>3.0395295321188325E-3</c:v>
                </c:pt>
                <c:pt idx="66">
                  <c:v>2.7782853787234802E-3</c:v>
                </c:pt>
                <c:pt idx="67">
                  <c:v>2.6720954093859273E-3</c:v>
                </c:pt>
                <c:pt idx="68">
                  <c:v>1.8576364459236641E-3</c:v>
                </c:pt>
                <c:pt idx="69">
                  <c:v>1.6413406480363731E-3</c:v>
                </c:pt>
                <c:pt idx="70">
                  <c:v>1.6267127470977727E-3</c:v>
                </c:pt>
                <c:pt idx="71">
                  <c:v>1.5024396103144892E-3</c:v>
                </c:pt>
                <c:pt idx="72">
                  <c:v>1.4817168164110938E-3</c:v>
                </c:pt>
                <c:pt idx="73">
                  <c:v>1.2849405335046246E-3</c:v>
                </c:pt>
                <c:pt idx="74">
                  <c:v>1.2209153855961112E-3</c:v>
                </c:pt>
                <c:pt idx="75">
                  <c:v>1.1477085936680116E-3</c:v>
                </c:pt>
                <c:pt idx="76">
                  <c:v>1.1204213871146961E-3</c:v>
                </c:pt>
                <c:pt idx="77">
                  <c:v>1.0828018068242489E-3</c:v>
                </c:pt>
                <c:pt idx="78">
                  <c:v>9.1589938676547801E-4</c:v>
                </c:pt>
                <c:pt idx="79">
                  <c:v>7.1371243384243141E-4</c:v>
                </c:pt>
                <c:pt idx="80">
                  <c:v>6.1393080393551749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06.2858526824630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07.161311512736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05.9039401787603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lang="de-DE" sz="500">
                        <a:solidFill>
                          <a:srgbClr val="006C6D"/>
                        </a:solidFill>
                      </a:rPr>
                      <a:t>Hawaiian Tropic Ozono Stick FPS50+ 42g</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5743112547474E-2</c:v>
                </c:pt>
                <c:pt idx="1">
                  <c:v>5.7663753971391347E-2</c:v>
                </c:pt>
                <c:pt idx="2">
                  <c:v>5.0987262491549806E-2</c:v>
                </c:pt>
                <c:pt idx="3">
                  <c:v>4.5232569089806822E-2</c:v>
                </c:pt>
                <c:pt idx="4">
                  <c:v>4.3400275030610141E-2</c:v>
                </c:pt>
                <c:pt idx="5">
                  <c:v>4.3355623076096861E-2</c:v>
                </c:pt>
                <c:pt idx="6">
                  <c:v>3.553730530134732E-2</c:v>
                </c:pt>
                <c:pt idx="7">
                  <c:v>3.1132829702145898E-2</c:v>
                </c:pt>
                <c:pt idx="8">
                  <c:v>2.7921191041084106E-2</c:v>
                </c:pt>
                <c:pt idx="9">
                  <c:v>2.7185967554051359E-2</c:v>
                </c:pt>
                <c:pt idx="10">
                  <c:v>2.2648468318646666E-2</c:v>
                </c:pt>
                <c:pt idx="11">
                  <c:v>2.2599151113001762E-2</c:v>
                </c:pt>
                <c:pt idx="12">
                  <c:v>2.0280584793730037E-2</c:v>
                </c:pt>
                <c:pt idx="13">
                  <c:v>1.9412037877721087E-2</c:v>
                </c:pt>
                <c:pt idx="14">
                  <c:v>1.7262853679924771E-2</c:v>
                </c:pt>
                <c:pt idx="15">
                  <c:v>1.7230354485753795E-2</c:v>
                </c:pt>
                <c:pt idx="16">
                  <c:v>1.7105281610523087E-2</c:v>
                </c:pt>
                <c:pt idx="17">
                  <c:v>1.5240150141600463E-2</c:v>
                </c:pt>
                <c:pt idx="18">
                  <c:v>1.478541551379676E-2</c:v>
                </c:pt>
                <c:pt idx="19">
                  <c:v>1.4549733486302474E-2</c:v>
                </c:pt>
                <c:pt idx="20">
                  <c:v>1.3995550985549526E-2</c:v>
                </c:pt>
                <c:pt idx="21">
                  <c:v>1.3404845070628831E-2</c:v>
                </c:pt>
                <c:pt idx="22">
                  <c:v>1.2422506418097704E-2</c:v>
                </c:pt>
                <c:pt idx="23">
                  <c:v>1.2186594433871101E-2</c:v>
                </c:pt>
                <c:pt idx="24">
                  <c:v>1.1977770113531443E-2</c:v>
                </c:pt>
                <c:pt idx="25">
                  <c:v>1.1971719750642687E-2</c:v>
                </c:pt>
                <c:pt idx="26">
                  <c:v>1.1725089199379641E-2</c:v>
                </c:pt>
                <c:pt idx="27">
                  <c:v>1.0817393018723866E-2</c:v>
                </c:pt>
                <c:pt idx="28">
                  <c:v>1.0510706049858074E-2</c:v>
                </c:pt>
                <c:pt idx="29">
                  <c:v>1.0311817878258649E-2</c:v>
                </c:pt>
                <c:pt idx="30">
                  <c:v>9.8762310760219484E-3</c:v>
                </c:pt>
                <c:pt idx="31">
                  <c:v>9.8389074799268665E-3</c:v>
                </c:pt>
                <c:pt idx="32">
                  <c:v>9.7049549840721484E-3</c:v>
                </c:pt>
                <c:pt idx="33">
                  <c:v>9.5414637164465046E-3</c:v>
                </c:pt>
                <c:pt idx="34">
                  <c:v>9.2470638266190022E-3</c:v>
                </c:pt>
                <c:pt idx="35">
                  <c:v>9.2352163518402645E-3</c:v>
                </c:pt>
                <c:pt idx="36">
                  <c:v>9.2143123917945279E-3</c:v>
                </c:pt>
                <c:pt idx="37">
                  <c:v>9.2052960018120383E-3</c:v>
                </c:pt>
                <c:pt idx="38">
                  <c:v>7.5318348249651971E-3</c:v>
                </c:pt>
                <c:pt idx="39">
                  <c:v>7.1760605289997274E-3</c:v>
                </c:pt>
                <c:pt idx="40">
                  <c:v>6.9874612098451885E-3</c:v>
                </c:pt>
                <c:pt idx="41">
                  <c:v>6.9179062832313652E-3</c:v>
                </c:pt>
                <c:pt idx="42">
                  <c:v>6.8329267282794858E-3</c:v>
                </c:pt>
                <c:pt idx="43">
                  <c:v>6.6379067026250023E-3</c:v>
                </c:pt>
                <c:pt idx="44">
                  <c:v>6.5542690541285425E-3</c:v>
                </c:pt>
                <c:pt idx="45">
                  <c:v>6.4918684242862576E-3</c:v>
                </c:pt>
                <c:pt idx="46">
                  <c:v>6.1267331086280446E-3</c:v>
                </c:pt>
                <c:pt idx="47">
                  <c:v>6.0262997806833311E-3</c:v>
                </c:pt>
                <c:pt idx="48">
                  <c:v>5.5461321334206214E-3</c:v>
                </c:pt>
                <c:pt idx="49">
                  <c:v>5.2424885194694206E-3</c:v>
                </c:pt>
                <c:pt idx="50">
                  <c:v>5.183289949334818E-3</c:v>
                </c:pt>
                <c:pt idx="51">
                  <c:v>5.0052889666752781E-3</c:v>
                </c:pt>
                <c:pt idx="52">
                  <c:v>4.8299027992064142E-3</c:v>
                </c:pt>
                <c:pt idx="53">
                  <c:v>4.8067653803049431E-3</c:v>
                </c:pt>
                <c:pt idx="54">
                  <c:v>4.7052055291209802E-3</c:v>
                </c:pt>
                <c:pt idx="55">
                  <c:v>4.5675942333723938E-3</c:v>
                </c:pt>
                <c:pt idx="56">
                  <c:v>4.5159947695069076E-3</c:v>
                </c:pt>
                <c:pt idx="57">
                  <c:v>4.3398961905934961E-3</c:v>
                </c:pt>
                <c:pt idx="58">
                  <c:v>4.1606781959740062E-3</c:v>
                </c:pt>
                <c:pt idx="59">
                  <c:v>4.0955205255886404E-3</c:v>
                </c:pt>
                <c:pt idx="60">
                  <c:v>3.920806218134819E-3</c:v>
                </c:pt>
                <c:pt idx="61">
                  <c:v>3.7818132577061409E-3</c:v>
                </c:pt>
                <c:pt idx="62">
                  <c:v>3.636234332173049E-3</c:v>
                </c:pt>
                <c:pt idx="63">
                  <c:v>3.4398712011144881E-3</c:v>
                </c:pt>
                <c:pt idx="64">
                  <c:v>3.0842826155816935E-3</c:v>
                </c:pt>
                <c:pt idx="65">
                  <c:v>3.0491692851203904E-3</c:v>
                </c:pt>
                <c:pt idx="66">
                  <c:v>2.7837930597970793E-3</c:v>
                </c:pt>
                <c:pt idx="67">
                  <c:v>2.6794675656485892E-3</c:v>
                </c:pt>
                <c:pt idx="68">
                  <c:v>1.8520646271086251E-3</c:v>
                </c:pt>
                <c:pt idx="69">
                  <c:v>1.6383628252864184E-3</c:v>
                </c:pt>
                <c:pt idx="70">
                  <c:v>1.6259220398413634E-3</c:v>
                </c:pt>
                <c:pt idx="71">
                  <c:v>1.5066873702193186E-3</c:v>
                </c:pt>
                <c:pt idx="72">
                  <c:v>1.4681261039431904E-3</c:v>
                </c:pt>
                <c:pt idx="73">
                  <c:v>1.2869872078651973E-3</c:v>
                </c:pt>
                <c:pt idx="74">
                  <c:v>1.2260120052348241E-3</c:v>
                </c:pt>
                <c:pt idx="75">
                  <c:v>1.1514009118963604E-3</c:v>
                </c:pt>
                <c:pt idx="76">
                  <c:v>1.1140231231571316E-3</c:v>
                </c:pt>
                <c:pt idx="77">
                  <c:v>1.0756007187657946E-3</c:v>
                </c:pt>
                <c:pt idx="78">
                  <c:v>9.1576196584167028E-4</c:v>
                </c:pt>
                <c:pt idx="79">
                  <c:v>7.0900105048485426E-4</c:v>
                </c:pt>
                <c:pt idx="80">
                  <c:v>6.18598538132303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lang="de-DE"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392900485689213E-2</c:v>
                </c:pt>
                <c:pt idx="1">
                  <c:v>5.7616920101070619E-2</c:v>
                </c:pt>
                <c:pt idx="2">
                  <c:v>5.0961128952451716E-2</c:v>
                </c:pt>
                <c:pt idx="3">
                  <c:v>4.522127364913902E-2</c:v>
                </c:pt>
                <c:pt idx="4">
                  <c:v>4.344415398237237E-2</c:v>
                </c:pt>
                <c:pt idx="5">
                  <c:v>4.3392305604178893E-2</c:v>
                </c:pt>
                <c:pt idx="6">
                  <c:v>3.5542108115270428E-2</c:v>
                </c:pt>
                <c:pt idx="7">
                  <c:v>3.1122660837529615E-2</c:v>
                </c:pt>
                <c:pt idx="8">
                  <c:v>2.7896302649413982E-2</c:v>
                </c:pt>
                <c:pt idx="9">
                  <c:v>2.7169479716236993E-2</c:v>
                </c:pt>
                <c:pt idx="10">
                  <c:v>2.2650377942970364E-2</c:v>
                </c:pt>
                <c:pt idx="11">
                  <c:v>2.2618232308510226E-2</c:v>
                </c:pt>
                <c:pt idx="12">
                  <c:v>2.0311764122192124E-2</c:v>
                </c:pt>
                <c:pt idx="13">
                  <c:v>1.9398932153394065E-2</c:v>
                </c:pt>
                <c:pt idx="14">
                  <c:v>1.7261432627402488E-2</c:v>
                </c:pt>
                <c:pt idx="15">
                  <c:v>1.7255236330729975E-2</c:v>
                </c:pt>
                <c:pt idx="16">
                  <c:v>1.7107694952352502E-2</c:v>
                </c:pt>
                <c:pt idx="17">
                  <c:v>1.5281227985969065E-2</c:v>
                </c:pt>
                <c:pt idx="18">
                  <c:v>1.480370457474907E-2</c:v>
                </c:pt>
                <c:pt idx="19">
                  <c:v>1.4632286045608322E-2</c:v>
                </c:pt>
                <c:pt idx="20">
                  <c:v>1.4025201767479465E-2</c:v>
                </c:pt>
                <c:pt idx="21">
                  <c:v>1.3484517921454813E-2</c:v>
                </c:pt>
                <c:pt idx="22">
                  <c:v>1.2448410697697743E-2</c:v>
                </c:pt>
                <c:pt idx="23">
                  <c:v>1.2196664236544511E-2</c:v>
                </c:pt>
                <c:pt idx="24">
                  <c:v>1.1995982613347972E-2</c:v>
                </c:pt>
                <c:pt idx="25">
                  <c:v>1.1985399685788154E-2</c:v>
                </c:pt>
                <c:pt idx="26">
                  <c:v>1.1760743753662619E-2</c:v>
                </c:pt>
                <c:pt idx="27">
                  <c:v>1.084411911460108E-2</c:v>
                </c:pt>
                <c:pt idx="28">
                  <c:v>1.0542515041620504E-2</c:v>
                </c:pt>
                <c:pt idx="29">
                  <c:v>1.0343599165796875E-2</c:v>
                </c:pt>
                <c:pt idx="30">
                  <c:v>9.8805935974987501E-3</c:v>
                </c:pt>
                <c:pt idx="31">
                  <c:v>9.8787205689493604E-3</c:v>
                </c:pt>
                <c:pt idx="32">
                  <c:v>9.7081264376591703E-3</c:v>
                </c:pt>
                <c:pt idx="33">
                  <c:v>9.584516257187042E-3</c:v>
                </c:pt>
                <c:pt idx="34">
                  <c:v>9.2735903723986761E-3</c:v>
                </c:pt>
                <c:pt idx="35">
                  <c:v>9.2469499763924365E-3</c:v>
                </c:pt>
                <c:pt idx="36">
                  <c:v>9.2371190583632242E-3</c:v>
                </c:pt>
                <c:pt idx="37">
                  <c:v>9.2333073831181653E-3</c:v>
                </c:pt>
                <c:pt idx="38">
                  <c:v>7.5604351286438654E-3</c:v>
                </c:pt>
                <c:pt idx="39">
                  <c:v>7.2245433953886905E-3</c:v>
                </c:pt>
                <c:pt idx="40">
                  <c:v>7.0190898679587388E-3</c:v>
                </c:pt>
                <c:pt idx="41">
                  <c:v>6.9452187626839112E-3</c:v>
                </c:pt>
                <c:pt idx="42">
                  <c:v>6.8301319443405143E-3</c:v>
                </c:pt>
                <c:pt idx="43">
                  <c:v>6.6484225957370042E-3</c:v>
                </c:pt>
                <c:pt idx="44">
                  <c:v>6.5687434049204107E-3</c:v>
                </c:pt>
                <c:pt idx="45">
                  <c:v>6.5026655759460386E-3</c:v>
                </c:pt>
                <c:pt idx="46">
                  <c:v>6.1312496039164915E-3</c:v>
                </c:pt>
                <c:pt idx="47">
                  <c:v>6.05756865715698E-3</c:v>
                </c:pt>
                <c:pt idx="48">
                  <c:v>5.5601484095296689E-3</c:v>
                </c:pt>
                <c:pt idx="49">
                  <c:v>5.2595572416181072E-3</c:v>
                </c:pt>
                <c:pt idx="50">
                  <c:v>5.2273487567710535E-3</c:v>
                </c:pt>
                <c:pt idx="51">
                  <c:v>5.0258565561736544E-3</c:v>
                </c:pt>
                <c:pt idx="52">
                  <c:v>4.8346356154160578E-3</c:v>
                </c:pt>
                <c:pt idx="53">
                  <c:v>4.8034420266788386E-3</c:v>
                </c:pt>
                <c:pt idx="54">
                  <c:v>4.7135351001117501E-3</c:v>
                </c:pt>
                <c:pt idx="55">
                  <c:v>4.5936325781209004E-3</c:v>
                </c:pt>
                <c:pt idx="56">
                  <c:v>4.5294656831076441E-3</c:v>
                </c:pt>
                <c:pt idx="57">
                  <c:v>4.1623558522291331E-3</c:v>
                </c:pt>
                <c:pt idx="58">
                  <c:v>4.103479157299284E-3</c:v>
                </c:pt>
                <c:pt idx="59">
                  <c:v>3.940009345191924E-3</c:v>
                </c:pt>
                <c:pt idx="60">
                  <c:v>3.7849048020501194E-3</c:v>
                </c:pt>
                <c:pt idx="61">
                  <c:v>3.647545109322455E-3</c:v>
                </c:pt>
                <c:pt idx="62">
                  <c:v>3.4477408681662419E-3</c:v>
                </c:pt>
                <c:pt idx="63">
                  <c:v>3.2089759598830981E-3</c:v>
                </c:pt>
                <c:pt idx="64">
                  <c:v>3.0869939208495699E-3</c:v>
                </c:pt>
                <c:pt idx="65">
                  <c:v>3.0513402580822687E-3</c:v>
                </c:pt>
                <c:pt idx="66">
                  <c:v>2.7918521172350967E-3</c:v>
                </c:pt>
                <c:pt idx="67">
                  <c:v>2.6896373433258226E-3</c:v>
                </c:pt>
                <c:pt idx="68">
                  <c:v>1.8695282519430828E-3</c:v>
                </c:pt>
                <c:pt idx="69">
                  <c:v>1.653256685502161E-3</c:v>
                </c:pt>
                <c:pt idx="70">
                  <c:v>1.6353578624419983E-3</c:v>
                </c:pt>
                <c:pt idx="71">
                  <c:v>1.5052136248903294E-3</c:v>
                </c:pt>
                <c:pt idx="72">
                  <c:v>1.4957537984645517E-3</c:v>
                </c:pt>
                <c:pt idx="73">
                  <c:v>1.293558816581779E-3</c:v>
                </c:pt>
                <c:pt idx="74">
                  <c:v>1.2304374061622096E-3</c:v>
                </c:pt>
                <c:pt idx="75">
                  <c:v>1.1534699914843901E-3</c:v>
                </c:pt>
                <c:pt idx="76">
                  <c:v>1.1230144919486219E-3</c:v>
                </c:pt>
                <c:pt idx="77">
                  <c:v>1.0853285925882259E-3</c:v>
                </c:pt>
                <c:pt idx="78">
                  <c:v>9.1969760169628191E-4</c:v>
                </c:pt>
                <c:pt idx="79">
                  <c:v>7.1602128500950206E-4</c:v>
                </c:pt>
                <c:pt idx="80">
                  <c:v>6.1863516664034278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B$2:$B$4</c:f>
              <c:numCache>
                <c:formatCode>General</c:formatCode>
                <c:ptCount val="3"/>
                <c:pt idx="0">
                  <c:v>101.7988704274907</c:v>
                </c:pt>
                <c:pt idx="1">
                  <c:v>119.69604516620163</c:v>
                </c:pt>
                <c:pt idx="2">
                  <c:v>101.5019853389342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C$2:$C$4</c:f>
              <c:numCache>
                <c:formatCode>General</c:formatCode>
                <c:ptCount val="3"/>
                <c:pt idx="0">
                  <c:v>101.76423099635099</c:v>
                </c:pt>
                <c:pt idx="1">
                  <c:v>118.14894477417266</c:v>
                </c:pt>
                <c:pt idx="2">
                  <c:v>101.2565189370689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D$2:$D$4</c:f>
              <c:numCache>
                <c:formatCode>General</c:formatCode>
                <c:ptCount val="3"/>
                <c:pt idx="0">
                  <c:v>102.02209818573913</c:v>
                </c:pt>
                <c:pt idx="1">
                  <c:v>114.9119920912031</c:v>
                </c:pt>
                <c:pt idx="2">
                  <c:v>100.4490342152911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3932826202732435E-2</c:v>
                </c:pt>
                <c:pt idx="1">
                  <c:v>8.2620049653358688E-2</c:v>
                </c:pt>
                <c:pt idx="2">
                  <c:v>8.7898672176465117E-2</c:v>
                </c:pt>
                <c:pt idx="3">
                  <c:v>7.7163383932516164E-2</c:v>
                </c:pt>
                <c:pt idx="4">
                  <c:v>4.6866110103050397E-2</c:v>
                </c:pt>
                <c:pt idx="5">
                  <c:v>4.9028227003304455E-2</c:v>
                </c:pt>
                <c:pt idx="6">
                  <c:v>2.653191749931616E-2</c:v>
                </c:pt>
                <c:pt idx="7">
                  <c:v>3.1796978832539499E-2</c:v>
                </c:pt>
                <c:pt idx="8">
                  <c:v>2.470905854210555E-2</c:v>
                </c:pt>
                <c:pt idx="9">
                  <c:v>2.1537065038704967E-2</c:v>
                </c:pt>
                <c:pt idx="10">
                  <c:v>1.9795204811843454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42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4.6467747496506576E-2</c:v>
                </c:pt>
                <c:pt idx="1">
                  <c:v>5.815722565518644E-2</c:v>
                </c:pt>
                <c:pt idx="2">
                  <c:v>3.4350816276175686E-2</c:v>
                </c:pt>
                <c:pt idx="3">
                  <c:v>2.8656221005602802E-2</c:v>
                </c:pt>
                <c:pt idx="4">
                  <c:v>3.3845738863206992E-2</c:v>
                </c:pt>
                <c:pt idx="5">
                  <c:v>2.4363333718762613E-2</c:v>
                </c:pt>
                <c:pt idx="6">
                  <c:v>3.093463542692089E-2</c:v>
                </c:pt>
                <c:pt idx="7">
                  <c:v>1.2171386934668472E-2</c:v>
                </c:pt>
                <c:pt idx="8">
                  <c:v>1.6535671602759219E-2</c:v>
                </c:pt>
                <c:pt idx="9">
                  <c:v>1.8981260848371446E-2</c:v>
                </c:pt>
                <c:pt idx="10">
                  <c:v>3.0333330652407529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6194970065378023E-2</c:v>
                </c:pt>
                <c:pt idx="1">
                  <c:v>5.1064706576016292E-2</c:v>
                </c:pt>
                <c:pt idx="2">
                  <c:v>4.8940348913589594E-2</c:v>
                </c:pt>
                <c:pt idx="3">
                  <c:v>3.7258680635385275E-2</c:v>
                </c:pt>
                <c:pt idx="4">
                  <c:v>6.0368437128472514E-2</c:v>
                </c:pt>
                <c:pt idx="5">
                  <c:v>4.1093445367883043E-2</c:v>
                </c:pt>
                <c:pt idx="6">
                  <c:v>4.5356696009588422E-2</c:v>
                </c:pt>
                <c:pt idx="7">
                  <c:v>2.4216743420216284E-2</c:v>
                </c:pt>
                <c:pt idx="8">
                  <c:v>2.5532121099775162E-2</c:v>
                </c:pt>
                <c:pt idx="9">
                  <c:v>2.5075624850658548E-2</c:v>
                </c:pt>
                <c:pt idx="10">
                  <c:v>1.529801016095394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lang="de-DE"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51414408859069E-2</c:v>
                </c:pt>
                <c:pt idx="1">
                  <c:v>5.7653934824824546E-2</c:v>
                </c:pt>
                <c:pt idx="2">
                  <c:v>5.0989845946645504E-2</c:v>
                </c:pt>
                <c:pt idx="3">
                  <c:v>4.5239010002525525E-2</c:v>
                </c:pt>
                <c:pt idx="4">
                  <c:v>4.3449839249138977E-2</c:v>
                </c:pt>
                <c:pt idx="5">
                  <c:v>4.3439826197538202E-2</c:v>
                </c:pt>
                <c:pt idx="6">
                  <c:v>3.5574456439123346E-2</c:v>
                </c:pt>
                <c:pt idx="7">
                  <c:v>3.1127252066347304E-2</c:v>
                </c:pt>
                <c:pt idx="8">
                  <c:v>2.7931342017124321E-2</c:v>
                </c:pt>
                <c:pt idx="9">
                  <c:v>2.7190011923931404E-2</c:v>
                </c:pt>
                <c:pt idx="10">
                  <c:v>2.2669224615202526E-2</c:v>
                </c:pt>
                <c:pt idx="11">
                  <c:v>2.262087571491693E-2</c:v>
                </c:pt>
                <c:pt idx="12">
                  <c:v>2.0306599205588527E-2</c:v>
                </c:pt>
                <c:pt idx="13">
                  <c:v>1.9411970202760011E-2</c:v>
                </c:pt>
                <c:pt idx="14">
                  <c:v>1.7274467743632779E-2</c:v>
                </c:pt>
                <c:pt idx="15">
                  <c:v>1.7239033747521032E-2</c:v>
                </c:pt>
                <c:pt idx="16">
                  <c:v>1.7121208375642096E-2</c:v>
                </c:pt>
                <c:pt idx="17">
                  <c:v>1.5276755177081247E-2</c:v>
                </c:pt>
                <c:pt idx="18">
                  <c:v>1.4801479916641047E-2</c:v>
                </c:pt>
                <c:pt idx="19">
                  <c:v>1.4635597677936868E-2</c:v>
                </c:pt>
                <c:pt idx="20">
                  <c:v>1.4017605909262775E-2</c:v>
                </c:pt>
                <c:pt idx="21">
                  <c:v>1.3478950102921931E-2</c:v>
                </c:pt>
                <c:pt idx="22">
                  <c:v>1.2439860536621893E-2</c:v>
                </c:pt>
                <c:pt idx="23">
                  <c:v>1.2186705727385644E-2</c:v>
                </c:pt>
                <c:pt idx="24">
                  <c:v>1.1990017172752665E-2</c:v>
                </c:pt>
                <c:pt idx="25">
                  <c:v>1.1985571677062004E-2</c:v>
                </c:pt>
                <c:pt idx="26">
                  <c:v>1.1757434904516799E-2</c:v>
                </c:pt>
                <c:pt idx="27">
                  <c:v>1.0843275834079649E-2</c:v>
                </c:pt>
                <c:pt idx="28">
                  <c:v>1.0537291863827481E-2</c:v>
                </c:pt>
                <c:pt idx="29">
                  <c:v>1.0345353145786079E-2</c:v>
                </c:pt>
                <c:pt idx="30">
                  <c:v>9.8912365373893963E-3</c:v>
                </c:pt>
                <c:pt idx="31">
                  <c:v>9.873564537721256E-3</c:v>
                </c:pt>
                <c:pt idx="32">
                  <c:v>9.7073069591359692E-3</c:v>
                </c:pt>
                <c:pt idx="33">
                  <c:v>9.5892743446971979E-3</c:v>
                </c:pt>
                <c:pt idx="34">
                  <c:v>9.2706831543767996E-3</c:v>
                </c:pt>
                <c:pt idx="35">
                  <c:v>9.2396955919055185E-3</c:v>
                </c:pt>
                <c:pt idx="36">
                  <c:v>9.2396590164462774E-3</c:v>
                </c:pt>
                <c:pt idx="37">
                  <c:v>9.2289543160112807E-3</c:v>
                </c:pt>
                <c:pt idx="38">
                  <c:v>7.5567615073431332E-3</c:v>
                </c:pt>
                <c:pt idx="39">
                  <c:v>7.2114638585842744E-3</c:v>
                </c:pt>
                <c:pt idx="40">
                  <c:v>7.0185024293124261E-3</c:v>
                </c:pt>
                <c:pt idx="41">
                  <c:v>6.9291913848727876E-3</c:v>
                </c:pt>
                <c:pt idx="42">
                  <c:v>6.820152279905076E-3</c:v>
                </c:pt>
                <c:pt idx="43">
                  <c:v>6.6520349531951056E-3</c:v>
                </c:pt>
                <c:pt idx="44">
                  <c:v>6.5636080369282602E-3</c:v>
                </c:pt>
                <c:pt idx="45">
                  <c:v>6.498055203073074E-3</c:v>
                </c:pt>
                <c:pt idx="46">
                  <c:v>6.1302395737766842E-3</c:v>
                </c:pt>
                <c:pt idx="47">
                  <c:v>6.0536642957172418E-3</c:v>
                </c:pt>
                <c:pt idx="48">
                  <c:v>5.5574951596493666E-3</c:v>
                </c:pt>
                <c:pt idx="49">
                  <c:v>5.2564957148602213E-3</c:v>
                </c:pt>
                <c:pt idx="50">
                  <c:v>5.2125900152414925E-3</c:v>
                </c:pt>
                <c:pt idx="51">
                  <c:v>5.0222268612399338E-3</c:v>
                </c:pt>
                <c:pt idx="52">
                  <c:v>4.828162661590427E-3</c:v>
                </c:pt>
                <c:pt idx="53">
                  <c:v>4.8065231633641946E-3</c:v>
                </c:pt>
                <c:pt idx="54">
                  <c:v>4.7048131609414689E-3</c:v>
                </c:pt>
                <c:pt idx="55">
                  <c:v>4.5896921352313368E-3</c:v>
                </c:pt>
                <c:pt idx="56">
                  <c:v>4.5323423043839546E-3</c:v>
                </c:pt>
                <c:pt idx="57">
                  <c:v>4.1616080500978736E-3</c:v>
                </c:pt>
                <c:pt idx="58">
                  <c:v>4.1000387907834191E-3</c:v>
                </c:pt>
                <c:pt idx="59">
                  <c:v>3.9388838125764382E-3</c:v>
                </c:pt>
                <c:pt idx="60">
                  <c:v>3.787332325945449E-3</c:v>
                </c:pt>
                <c:pt idx="61">
                  <c:v>3.6476151411236261E-3</c:v>
                </c:pt>
                <c:pt idx="62">
                  <c:v>3.4475373998594338E-3</c:v>
                </c:pt>
                <c:pt idx="63">
                  <c:v>3.0854409802432928E-3</c:v>
                </c:pt>
                <c:pt idx="64">
                  <c:v>3.055461947403896E-3</c:v>
                </c:pt>
                <c:pt idx="65">
                  <c:v>3.0528911770792565E-3</c:v>
                </c:pt>
                <c:pt idx="66">
                  <c:v>2.7863366135613388E-3</c:v>
                </c:pt>
                <c:pt idx="67">
                  <c:v>2.6888621045869478E-3</c:v>
                </c:pt>
                <c:pt idx="68">
                  <c:v>1.8629165514105564E-3</c:v>
                </c:pt>
                <c:pt idx="69">
                  <c:v>1.6508625317007062E-3</c:v>
                </c:pt>
                <c:pt idx="70">
                  <c:v>1.6363329121404466E-3</c:v>
                </c:pt>
                <c:pt idx="71">
                  <c:v>1.5045702201382832E-3</c:v>
                </c:pt>
                <c:pt idx="72">
                  <c:v>1.4934592781012061E-3</c:v>
                </c:pt>
                <c:pt idx="73">
                  <c:v>1.2947410175170107E-3</c:v>
                </c:pt>
                <c:pt idx="74">
                  <c:v>1.229089010699395E-3</c:v>
                </c:pt>
                <c:pt idx="75">
                  <c:v>1.152850222874118E-3</c:v>
                </c:pt>
                <c:pt idx="76">
                  <c:v>1.1215740169018982E-3</c:v>
                </c:pt>
                <c:pt idx="77">
                  <c:v>1.0809784720831341E-3</c:v>
                </c:pt>
                <c:pt idx="78">
                  <c:v>9.1595293809040444E-4</c:v>
                </c:pt>
                <c:pt idx="79">
                  <c:v>7.1466292914546144E-4</c:v>
                </c:pt>
                <c:pt idx="80">
                  <c:v>6.194000718438498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lang="de-DE"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82908813210753E-2</c:v>
                </c:pt>
                <c:pt idx="1">
                  <c:v>5.7669913875772236E-2</c:v>
                </c:pt>
                <c:pt idx="2">
                  <c:v>5.1001046149208723E-2</c:v>
                </c:pt>
                <c:pt idx="3">
                  <c:v>4.524262085281025E-2</c:v>
                </c:pt>
                <c:pt idx="4">
                  <c:v>4.3479951143822318E-2</c:v>
                </c:pt>
                <c:pt idx="5">
                  <c:v>4.3459563522846467E-2</c:v>
                </c:pt>
                <c:pt idx="6">
                  <c:v>3.5574601152652673E-2</c:v>
                </c:pt>
                <c:pt idx="7">
                  <c:v>3.1147672587277204E-2</c:v>
                </c:pt>
                <c:pt idx="8">
                  <c:v>2.7937141641373491E-2</c:v>
                </c:pt>
                <c:pt idx="9">
                  <c:v>2.7189876909365873E-2</c:v>
                </c:pt>
                <c:pt idx="10">
                  <c:v>2.2656084371174601E-2</c:v>
                </c:pt>
                <c:pt idx="11">
                  <c:v>2.2624295923573189E-2</c:v>
                </c:pt>
                <c:pt idx="12">
                  <c:v>2.0297719424645245E-2</c:v>
                </c:pt>
                <c:pt idx="13">
                  <c:v>1.9412354297998813E-2</c:v>
                </c:pt>
                <c:pt idx="14">
                  <c:v>1.7282732520830121E-2</c:v>
                </c:pt>
                <c:pt idx="15">
                  <c:v>1.7242761439832891E-2</c:v>
                </c:pt>
                <c:pt idx="16">
                  <c:v>1.71195997836666E-2</c:v>
                </c:pt>
                <c:pt idx="17">
                  <c:v>1.5265376682592067E-2</c:v>
                </c:pt>
                <c:pt idx="18">
                  <c:v>1.480175713055774E-2</c:v>
                </c:pt>
                <c:pt idx="19">
                  <c:v>1.4614983307310796E-2</c:v>
                </c:pt>
                <c:pt idx="20">
                  <c:v>1.4039676866060575E-2</c:v>
                </c:pt>
                <c:pt idx="21">
                  <c:v>1.3473308207565413E-2</c:v>
                </c:pt>
                <c:pt idx="22">
                  <c:v>1.2433422912423447E-2</c:v>
                </c:pt>
                <c:pt idx="23">
                  <c:v>1.2203253455713766E-2</c:v>
                </c:pt>
                <c:pt idx="24">
                  <c:v>1.1995255157805917E-2</c:v>
                </c:pt>
                <c:pt idx="25">
                  <c:v>1.1971028823848534E-2</c:v>
                </c:pt>
                <c:pt idx="26">
                  <c:v>1.1744833036825346E-2</c:v>
                </c:pt>
                <c:pt idx="27">
                  <c:v>1.0836915132393349E-2</c:v>
                </c:pt>
                <c:pt idx="28">
                  <c:v>1.0518514283227746E-2</c:v>
                </c:pt>
                <c:pt idx="29">
                  <c:v>1.0320300086593438E-2</c:v>
                </c:pt>
                <c:pt idx="30">
                  <c:v>9.8839317239259594E-3</c:v>
                </c:pt>
                <c:pt idx="31">
                  <c:v>9.8549270857797508E-3</c:v>
                </c:pt>
                <c:pt idx="32">
                  <c:v>9.6990742603339404E-3</c:v>
                </c:pt>
                <c:pt idx="33">
                  <c:v>9.5918045080244409E-3</c:v>
                </c:pt>
                <c:pt idx="34">
                  <c:v>9.2634878951517747E-3</c:v>
                </c:pt>
                <c:pt idx="35">
                  <c:v>9.2447633440801164E-3</c:v>
                </c:pt>
                <c:pt idx="36">
                  <c:v>9.2428332653184484E-3</c:v>
                </c:pt>
                <c:pt idx="37">
                  <c:v>9.2176092315326853E-3</c:v>
                </c:pt>
                <c:pt idx="38">
                  <c:v>7.5440009429491644E-3</c:v>
                </c:pt>
                <c:pt idx="39">
                  <c:v>7.2016748989086445E-3</c:v>
                </c:pt>
                <c:pt idx="40">
                  <c:v>7.0072662954029667E-3</c:v>
                </c:pt>
                <c:pt idx="41">
                  <c:v>6.9172119409838572E-3</c:v>
                </c:pt>
                <c:pt idx="42">
                  <c:v>6.8364430297622849E-3</c:v>
                </c:pt>
                <c:pt idx="43">
                  <c:v>6.6441603482164241E-3</c:v>
                </c:pt>
                <c:pt idx="44">
                  <c:v>6.5583711524093459E-3</c:v>
                </c:pt>
                <c:pt idx="45">
                  <c:v>6.5045590779752799E-3</c:v>
                </c:pt>
                <c:pt idx="46">
                  <c:v>6.1308680580853953E-3</c:v>
                </c:pt>
                <c:pt idx="47">
                  <c:v>6.0396609855432959E-3</c:v>
                </c:pt>
                <c:pt idx="48">
                  <c:v>5.5487543241071312E-3</c:v>
                </c:pt>
                <c:pt idx="49">
                  <c:v>5.267242801920753E-3</c:v>
                </c:pt>
                <c:pt idx="50">
                  <c:v>5.2174398128177037E-3</c:v>
                </c:pt>
                <c:pt idx="51">
                  <c:v>5.027796912348551E-3</c:v>
                </c:pt>
                <c:pt idx="52">
                  <c:v>4.8355819113872298E-3</c:v>
                </c:pt>
                <c:pt idx="53">
                  <c:v>4.8061431790169945E-3</c:v>
                </c:pt>
                <c:pt idx="54">
                  <c:v>4.7066410638729817E-3</c:v>
                </c:pt>
                <c:pt idx="55">
                  <c:v>4.5877036114847919E-3</c:v>
                </c:pt>
                <c:pt idx="56">
                  <c:v>4.5189810255768011E-3</c:v>
                </c:pt>
                <c:pt idx="57">
                  <c:v>4.1603354841201938E-3</c:v>
                </c:pt>
                <c:pt idx="58">
                  <c:v>4.0996550546750872E-3</c:v>
                </c:pt>
                <c:pt idx="59">
                  <c:v>3.9317147134321244E-3</c:v>
                </c:pt>
                <c:pt idx="60">
                  <c:v>3.7802517937025808E-3</c:v>
                </c:pt>
                <c:pt idx="61">
                  <c:v>3.6461488322010655E-3</c:v>
                </c:pt>
                <c:pt idx="62">
                  <c:v>3.4493844833214759E-3</c:v>
                </c:pt>
                <c:pt idx="63">
                  <c:v>3.1284243210084532E-3</c:v>
                </c:pt>
                <c:pt idx="64">
                  <c:v>3.088382144875139E-3</c:v>
                </c:pt>
                <c:pt idx="65">
                  <c:v>3.0540762835527375E-3</c:v>
                </c:pt>
                <c:pt idx="66">
                  <c:v>2.7850255567319635E-3</c:v>
                </c:pt>
                <c:pt idx="67">
                  <c:v>2.6902081441484717E-3</c:v>
                </c:pt>
                <c:pt idx="68">
                  <c:v>1.8589756370614796E-3</c:v>
                </c:pt>
                <c:pt idx="69">
                  <c:v>1.645467266597946E-3</c:v>
                </c:pt>
                <c:pt idx="70">
                  <c:v>1.6342774430306974E-3</c:v>
                </c:pt>
                <c:pt idx="71">
                  <c:v>1.5052389871508328E-3</c:v>
                </c:pt>
                <c:pt idx="72">
                  <c:v>1.4852630193365813E-3</c:v>
                </c:pt>
                <c:pt idx="73">
                  <c:v>1.291329619165855E-3</c:v>
                </c:pt>
                <c:pt idx="74">
                  <c:v>1.2283516268154463E-3</c:v>
                </c:pt>
                <c:pt idx="75">
                  <c:v>1.1537060276739551E-3</c:v>
                </c:pt>
                <c:pt idx="76">
                  <c:v>1.1177840434332315E-3</c:v>
                </c:pt>
                <c:pt idx="77">
                  <c:v>1.0772704367970436E-3</c:v>
                </c:pt>
                <c:pt idx="78">
                  <c:v>9.16494493197482E-4</c:v>
                </c:pt>
                <c:pt idx="79">
                  <c:v>7.1426453765056008E-4</c:v>
                </c:pt>
                <c:pt idx="80">
                  <c:v>6.1956787042360538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lang="de-DE"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798883301395E-2</c:v>
                </c:pt>
                <c:pt idx="1">
                  <c:v>5.7720872920682086E-2</c:v>
                </c:pt>
                <c:pt idx="2">
                  <c:v>5.1035505642474374E-2</c:v>
                </c:pt>
                <c:pt idx="3">
                  <c:v>4.5297214290850832E-2</c:v>
                </c:pt>
                <c:pt idx="4">
                  <c:v>4.3502025840678284E-2</c:v>
                </c:pt>
                <c:pt idx="5">
                  <c:v>4.3471898493294164E-2</c:v>
                </c:pt>
                <c:pt idx="6">
                  <c:v>3.5597106768285473E-2</c:v>
                </c:pt>
                <c:pt idx="7">
                  <c:v>3.1152763945719926E-2</c:v>
                </c:pt>
                <c:pt idx="8">
                  <c:v>2.7949356357386216E-2</c:v>
                </c:pt>
                <c:pt idx="9">
                  <c:v>2.7207973333783417E-2</c:v>
                </c:pt>
                <c:pt idx="10">
                  <c:v>2.2690226499898741E-2</c:v>
                </c:pt>
                <c:pt idx="11">
                  <c:v>2.2644414218920089E-2</c:v>
                </c:pt>
                <c:pt idx="12">
                  <c:v>2.0327969730152901E-2</c:v>
                </c:pt>
                <c:pt idx="13">
                  <c:v>1.9423808795131805E-2</c:v>
                </c:pt>
                <c:pt idx="14">
                  <c:v>1.7289189774076997E-2</c:v>
                </c:pt>
                <c:pt idx="15">
                  <c:v>1.726828063027129E-2</c:v>
                </c:pt>
                <c:pt idx="16">
                  <c:v>1.7135535053078639E-2</c:v>
                </c:pt>
                <c:pt idx="17">
                  <c:v>1.5294775434790034E-2</c:v>
                </c:pt>
                <c:pt idx="18">
                  <c:v>1.4820130395797337E-2</c:v>
                </c:pt>
                <c:pt idx="19">
                  <c:v>1.4640353047997498E-2</c:v>
                </c:pt>
                <c:pt idx="20">
                  <c:v>1.405226379916808E-2</c:v>
                </c:pt>
                <c:pt idx="21">
                  <c:v>1.3495246160869718E-2</c:v>
                </c:pt>
                <c:pt idx="22">
                  <c:v>1.2454284180743477E-2</c:v>
                </c:pt>
                <c:pt idx="23">
                  <c:v>1.2207912219199047E-2</c:v>
                </c:pt>
                <c:pt idx="24">
                  <c:v>1.2003050851292409E-2</c:v>
                </c:pt>
                <c:pt idx="25">
                  <c:v>1.1984700162141841E-2</c:v>
                </c:pt>
                <c:pt idx="26">
                  <c:v>1.1767471263965332E-2</c:v>
                </c:pt>
                <c:pt idx="27">
                  <c:v>1.0854282396732116E-2</c:v>
                </c:pt>
                <c:pt idx="28">
                  <c:v>1.0546404653164063E-2</c:v>
                </c:pt>
                <c:pt idx="29">
                  <c:v>1.0343115955406159E-2</c:v>
                </c:pt>
                <c:pt idx="30">
                  <c:v>9.8956988825404744E-3</c:v>
                </c:pt>
                <c:pt idx="31">
                  <c:v>9.8831908503998339E-3</c:v>
                </c:pt>
                <c:pt idx="32">
                  <c:v>9.716134271154293E-3</c:v>
                </c:pt>
                <c:pt idx="33">
                  <c:v>9.5909365420467352E-3</c:v>
                </c:pt>
                <c:pt idx="34">
                  <c:v>9.2821729613242372E-3</c:v>
                </c:pt>
                <c:pt idx="35">
                  <c:v>9.251826643594533E-3</c:v>
                </c:pt>
                <c:pt idx="36">
                  <c:v>9.2481870629316735E-3</c:v>
                </c:pt>
                <c:pt idx="37">
                  <c:v>9.2392065955023191E-3</c:v>
                </c:pt>
                <c:pt idx="38">
                  <c:v>7.553556274227464E-3</c:v>
                </c:pt>
                <c:pt idx="39">
                  <c:v>7.2217546307663917E-3</c:v>
                </c:pt>
                <c:pt idx="40">
                  <c:v>7.0273583152601956E-3</c:v>
                </c:pt>
                <c:pt idx="41">
                  <c:v>6.9434310242310789E-3</c:v>
                </c:pt>
                <c:pt idx="42">
                  <c:v>6.8437657662395448E-3</c:v>
                </c:pt>
                <c:pt idx="43">
                  <c:v>6.6528595120784184E-3</c:v>
                </c:pt>
                <c:pt idx="44">
                  <c:v>6.5739425071652648E-3</c:v>
                </c:pt>
                <c:pt idx="45">
                  <c:v>6.5135942867116095E-3</c:v>
                </c:pt>
                <c:pt idx="46">
                  <c:v>6.1383838531141235E-3</c:v>
                </c:pt>
                <c:pt idx="47">
                  <c:v>6.0579252882831183E-3</c:v>
                </c:pt>
                <c:pt idx="48">
                  <c:v>5.5638311527614883E-3</c:v>
                </c:pt>
                <c:pt idx="49">
                  <c:v>5.2576361740359744E-3</c:v>
                </c:pt>
                <c:pt idx="50">
                  <c:v>5.2152838494298982E-3</c:v>
                </c:pt>
                <c:pt idx="51">
                  <c:v>5.0294382597160948E-3</c:v>
                </c:pt>
                <c:pt idx="52">
                  <c:v>4.8378391598491843E-3</c:v>
                </c:pt>
                <c:pt idx="53">
                  <c:v>4.8132428674289357E-3</c:v>
                </c:pt>
                <c:pt idx="54">
                  <c:v>4.7140900331897242E-3</c:v>
                </c:pt>
                <c:pt idx="55">
                  <c:v>4.6031084877950993E-3</c:v>
                </c:pt>
                <c:pt idx="56">
                  <c:v>4.5353758724743821E-3</c:v>
                </c:pt>
                <c:pt idx="57">
                  <c:v>4.1656874530065511E-3</c:v>
                </c:pt>
                <c:pt idx="58">
                  <c:v>4.1069441794026502E-3</c:v>
                </c:pt>
                <c:pt idx="59">
                  <c:v>3.9509002404723948E-3</c:v>
                </c:pt>
                <c:pt idx="60">
                  <c:v>3.7848996004548031E-3</c:v>
                </c:pt>
                <c:pt idx="61">
                  <c:v>3.6492790362622957E-3</c:v>
                </c:pt>
                <c:pt idx="62">
                  <c:v>3.451772818452077E-3</c:v>
                </c:pt>
                <c:pt idx="63">
                  <c:v>3.0895842319277416E-3</c:v>
                </c:pt>
                <c:pt idx="64">
                  <c:v>3.0546251082165647E-3</c:v>
                </c:pt>
                <c:pt idx="65">
                  <c:v>2.7891568903208341E-3</c:v>
                </c:pt>
                <c:pt idx="66">
                  <c:v>2.6881574962055082E-3</c:v>
                </c:pt>
                <c:pt idx="67">
                  <c:v>2.0711394486087778E-3</c:v>
                </c:pt>
                <c:pt idx="68">
                  <c:v>1.8656182466021088E-3</c:v>
                </c:pt>
                <c:pt idx="69">
                  <c:v>1.64906879366254E-3</c:v>
                </c:pt>
                <c:pt idx="70">
                  <c:v>1.6352166803877053E-3</c:v>
                </c:pt>
                <c:pt idx="71">
                  <c:v>1.5053560731684043E-3</c:v>
                </c:pt>
                <c:pt idx="72">
                  <c:v>1.4917381546967043E-3</c:v>
                </c:pt>
                <c:pt idx="73">
                  <c:v>1.2904189826196898E-3</c:v>
                </c:pt>
                <c:pt idx="74">
                  <c:v>1.2314456888632681E-3</c:v>
                </c:pt>
                <c:pt idx="75">
                  <c:v>1.154501090257983E-3</c:v>
                </c:pt>
                <c:pt idx="76">
                  <c:v>1.1207619230250972E-3</c:v>
                </c:pt>
                <c:pt idx="77">
                  <c:v>1.0832300278901938E-3</c:v>
                </c:pt>
                <c:pt idx="78">
                  <c:v>9.1703544958991691E-4</c:v>
                </c:pt>
                <c:pt idx="79">
                  <c:v>7.1650154984770733E-4</c:v>
                </c:pt>
                <c:pt idx="80">
                  <c:v>6.1925801255246615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2.05457788243133</c:v>
                </c:pt>
                <c:pt idx="1">
                  <c:v>121.30756339871796</c:v>
                </c:pt>
                <c:pt idx="2">
                  <c:v>101.3890038670097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1.41701088317639</c:v>
                </c:pt>
                <c:pt idx="1">
                  <c:v>111.46153354640953</c:v>
                </c:pt>
                <c:pt idx="2">
                  <c:v>101.016339419044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1.33537758851678</c:v>
                </c:pt>
                <c:pt idx="1">
                  <c:v>108.91485629565763</c:v>
                </c:pt>
                <c:pt idx="2">
                  <c:v>100.5825454923508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8.5389881146745797E-2</c:v>
                </c:pt>
                <c:pt idx="1">
                  <c:v>7.9383082531765223E-2</c:v>
                </c:pt>
                <c:pt idx="2">
                  <c:v>7.5744875873584805E-2</c:v>
                </c:pt>
                <c:pt idx="3">
                  <c:v>6.2522941177490604E-2</c:v>
                </c:pt>
                <c:pt idx="4">
                  <c:v>5.2141079316675575E-2</c:v>
                </c:pt>
                <c:pt idx="5">
                  <c:v>5.1529563654607938E-2</c:v>
                </c:pt>
                <c:pt idx="6">
                  <c:v>5.0487038350671462E-2</c:v>
                </c:pt>
                <c:pt idx="7">
                  <c:v>4.6931726037380939E-2</c:v>
                </c:pt>
                <c:pt idx="8">
                  <c:v>3.6718341125958211E-2</c:v>
                </c:pt>
                <c:pt idx="9">
                  <c:v>2.8103613350529199E-2</c:v>
                </c:pt>
                <c:pt idx="10">
                  <c:v>2.668144413564852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6.0872597085355883E-2</c:v>
                </c:pt>
                <c:pt idx="1">
                  <c:v>5.1769634758080635E-2</c:v>
                </c:pt>
                <c:pt idx="2">
                  <c:v>5.1287216933008369E-2</c:v>
                </c:pt>
                <c:pt idx="3">
                  <c:v>4.1830726720909379E-2</c:v>
                </c:pt>
                <c:pt idx="4">
                  <c:v>3.5846563190143114E-2</c:v>
                </c:pt>
                <c:pt idx="5">
                  <c:v>3.375950539595541E-2</c:v>
                </c:pt>
                <c:pt idx="6">
                  <c:v>2.8543600969109507E-2</c:v>
                </c:pt>
                <c:pt idx="7">
                  <c:v>2.2245365815905329E-2</c:v>
                </c:pt>
                <c:pt idx="8">
                  <c:v>2.531228839620376E-2</c:v>
                </c:pt>
                <c:pt idx="9">
                  <c:v>2.6505541978916889E-2</c:v>
                </c:pt>
                <c:pt idx="10">
                  <c:v>2.0167295863398049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385723875355558E-2</c:v>
                </c:pt>
                <c:pt idx="1">
                  <c:v>4.0936983353233175E-2</c:v>
                </c:pt>
                <c:pt idx="2">
                  <c:v>4.498337640272608E-2</c:v>
                </c:pt>
                <c:pt idx="3">
                  <c:v>3.9700926312715712E-2</c:v>
                </c:pt>
                <c:pt idx="4">
                  <c:v>2.870150441596174E-2</c:v>
                </c:pt>
                <c:pt idx="5">
                  <c:v>2.939201083427798E-2</c:v>
                </c:pt>
                <c:pt idx="6">
                  <c:v>2.7831637955557677E-2</c:v>
                </c:pt>
                <c:pt idx="7">
                  <c:v>2.4564970034208027E-2</c:v>
                </c:pt>
                <c:pt idx="8">
                  <c:v>1.819453092861309E-2</c:v>
                </c:pt>
                <c:pt idx="9">
                  <c:v>1.8832393584993539E-2</c:v>
                </c:pt>
                <c:pt idx="10">
                  <c:v>2.389722155608167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059675658189784E-2</c:v>
                </c:pt>
                <c:pt idx="1">
                  <c:v>5.1176446649309378E-2</c:v>
                </c:pt>
                <c:pt idx="2">
                  <c:v>4.3342346614958727E-2</c:v>
                </c:pt>
                <c:pt idx="3">
                  <c:v>3.3608507360255051E-2</c:v>
                </c:pt>
                <c:pt idx="4">
                  <c:v>3.7397536930097751E-2</c:v>
                </c:pt>
                <c:pt idx="5">
                  <c:v>2.7758241150911373E-2</c:v>
                </c:pt>
                <c:pt idx="6">
                  <c:v>3.1172964951363565E-2</c:v>
                </c:pt>
                <c:pt idx="7">
                  <c:v>2.2499375512115075E-2</c:v>
                </c:pt>
                <c:pt idx="8">
                  <c:v>2.5024319177786865E-2</c:v>
                </c:pt>
                <c:pt idx="9">
                  <c:v>2.2368742499551442E-2</c:v>
                </c:pt>
                <c:pt idx="10">
                  <c:v>1.961167821110147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006C6D"/>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r>
                      <a:rPr lang="en-US" sz="500">
                        <a:solidFill>
                          <a:srgbClr val="006C6D"/>
                        </a:solidFill>
                      </a:rPr>
                      <a:t>Banana Boat Aqua Protect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Aqua Protect Sport Spray FPS50+ 240ml</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196802536035851E-2</c:v>
                </c:pt>
                <c:pt idx="1">
                  <c:v>5.7384672176622249E-2</c:v>
                </c:pt>
                <c:pt idx="2">
                  <c:v>5.086842923879871E-2</c:v>
                </c:pt>
                <c:pt idx="3">
                  <c:v>4.5204230331287551E-2</c:v>
                </c:pt>
                <c:pt idx="4">
                  <c:v>4.3330586883492492E-2</c:v>
                </c:pt>
                <c:pt idx="5">
                  <c:v>4.3303829202698263E-2</c:v>
                </c:pt>
                <c:pt idx="6">
                  <c:v>3.5417891733295043E-2</c:v>
                </c:pt>
                <c:pt idx="7">
                  <c:v>3.0895498633745532E-2</c:v>
                </c:pt>
                <c:pt idx="8">
                  <c:v>2.7817860414081443E-2</c:v>
                </c:pt>
                <c:pt idx="9">
                  <c:v>2.698642096970106E-2</c:v>
                </c:pt>
                <c:pt idx="10">
                  <c:v>2.2601396978396766E-2</c:v>
                </c:pt>
                <c:pt idx="11">
                  <c:v>2.2489922688570672E-2</c:v>
                </c:pt>
                <c:pt idx="12">
                  <c:v>2.0246337961338737E-2</c:v>
                </c:pt>
                <c:pt idx="13">
                  <c:v>1.9291100206824414E-2</c:v>
                </c:pt>
                <c:pt idx="14">
                  <c:v>1.7229070245822053E-2</c:v>
                </c:pt>
                <c:pt idx="15">
                  <c:v>1.7220210791726701E-2</c:v>
                </c:pt>
                <c:pt idx="16">
                  <c:v>1.7065659943231323E-2</c:v>
                </c:pt>
                <c:pt idx="17">
                  <c:v>1.5268579929434962E-2</c:v>
                </c:pt>
                <c:pt idx="18">
                  <c:v>1.4758452631656609E-2</c:v>
                </c:pt>
                <c:pt idx="19">
                  <c:v>1.4630415922116776E-2</c:v>
                </c:pt>
                <c:pt idx="20">
                  <c:v>1.4024500451278815E-2</c:v>
                </c:pt>
                <c:pt idx="21">
                  <c:v>1.3450821111658401E-2</c:v>
                </c:pt>
                <c:pt idx="22">
                  <c:v>1.2405429966027323E-2</c:v>
                </c:pt>
                <c:pt idx="23">
                  <c:v>1.2020563308082611E-2</c:v>
                </c:pt>
                <c:pt idx="24">
                  <c:v>1.1984635222990685E-2</c:v>
                </c:pt>
                <c:pt idx="25">
                  <c:v>1.1940577242093726E-2</c:v>
                </c:pt>
                <c:pt idx="26">
                  <c:v>1.1747904910178507E-2</c:v>
                </c:pt>
                <c:pt idx="27">
                  <c:v>1.0828424657115254E-2</c:v>
                </c:pt>
                <c:pt idx="28">
                  <c:v>1.053577755968456E-2</c:v>
                </c:pt>
                <c:pt idx="29">
                  <c:v>1.0344855149068943E-2</c:v>
                </c:pt>
                <c:pt idx="30">
                  <c:v>9.8755667011730976E-3</c:v>
                </c:pt>
                <c:pt idx="31">
                  <c:v>9.8597609610264793E-3</c:v>
                </c:pt>
                <c:pt idx="32">
                  <c:v>9.7046486194961416E-3</c:v>
                </c:pt>
                <c:pt idx="33">
                  <c:v>9.5766876737705571E-3</c:v>
                </c:pt>
                <c:pt idx="34">
                  <c:v>9.2756484708398628E-3</c:v>
                </c:pt>
                <c:pt idx="35">
                  <c:v>9.2294739781405132E-3</c:v>
                </c:pt>
                <c:pt idx="36">
                  <c:v>9.2192010959269433E-3</c:v>
                </c:pt>
                <c:pt idx="37">
                  <c:v>9.2136088142022524E-3</c:v>
                </c:pt>
                <c:pt idx="38">
                  <c:v>7.5309112356745159E-3</c:v>
                </c:pt>
                <c:pt idx="39">
                  <c:v>7.2217959233220998E-3</c:v>
                </c:pt>
                <c:pt idx="40">
                  <c:v>7.0151228265985998E-3</c:v>
                </c:pt>
                <c:pt idx="41">
                  <c:v>6.9305658983406055E-3</c:v>
                </c:pt>
                <c:pt idx="42">
                  <c:v>6.8225452316320332E-3</c:v>
                </c:pt>
                <c:pt idx="43">
                  <c:v>6.6379842039925811E-3</c:v>
                </c:pt>
                <c:pt idx="44">
                  <c:v>6.5521202429368857E-3</c:v>
                </c:pt>
                <c:pt idx="45">
                  <c:v>6.4492392608999855E-3</c:v>
                </c:pt>
                <c:pt idx="46">
                  <c:v>6.2102456317788112E-3</c:v>
                </c:pt>
                <c:pt idx="47">
                  <c:v>6.0886887747281879E-3</c:v>
                </c:pt>
                <c:pt idx="48">
                  <c:v>6.0434541365721947E-3</c:v>
                </c:pt>
                <c:pt idx="49">
                  <c:v>5.5412081449822594E-3</c:v>
                </c:pt>
                <c:pt idx="50">
                  <c:v>5.2424898468376229E-3</c:v>
                </c:pt>
                <c:pt idx="51">
                  <c:v>5.1913238769654632E-3</c:v>
                </c:pt>
                <c:pt idx="52">
                  <c:v>4.9952932096061515E-3</c:v>
                </c:pt>
                <c:pt idx="53">
                  <c:v>4.7755077394173616E-3</c:v>
                </c:pt>
                <c:pt idx="54">
                  <c:v>4.760971373249474E-3</c:v>
                </c:pt>
                <c:pt idx="55">
                  <c:v>4.7006014631438813E-3</c:v>
                </c:pt>
                <c:pt idx="56">
                  <c:v>4.5771059849729519E-3</c:v>
                </c:pt>
                <c:pt idx="57">
                  <c:v>4.5365707398712729E-3</c:v>
                </c:pt>
                <c:pt idx="58">
                  <c:v>4.1013926393756251E-3</c:v>
                </c:pt>
                <c:pt idx="59">
                  <c:v>4.0919370857026207E-3</c:v>
                </c:pt>
                <c:pt idx="60">
                  <c:v>3.9408611206632818E-3</c:v>
                </c:pt>
                <c:pt idx="61">
                  <c:v>3.7725623847808974E-3</c:v>
                </c:pt>
                <c:pt idx="62">
                  <c:v>3.6291457123819033E-3</c:v>
                </c:pt>
                <c:pt idx="63">
                  <c:v>3.4416344318070158E-3</c:v>
                </c:pt>
                <c:pt idx="64">
                  <c:v>3.0601680660789663E-3</c:v>
                </c:pt>
                <c:pt idx="65">
                  <c:v>3.0255144156077721E-3</c:v>
                </c:pt>
                <c:pt idx="66">
                  <c:v>2.782197067086151E-3</c:v>
                </c:pt>
                <c:pt idx="67">
                  <c:v>2.6819361073437582E-3</c:v>
                </c:pt>
                <c:pt idx="68">
                  <c:v>1.859204474072016E-3</c:v>
                </c:pt>
                <c:pt idx="69">
                  <c:v>1.6506827829952243E-3</c:v>
                </c:pt>
                <c:pt idx="70">
                  <c:v>1.6251790603494984E-3</c:v>
                </c:pt>
                <c:pt idx="71">
                  <c:v>1.4882326714780105E-3</c:v>
                </c:pt>
                <c:pt idx="72">
                  <c:v>1.4857420795246971E-3</c:v>
                </c:pt>
                <c:pt idx="73">
                  <c:v>1.2898986215958343E-3</c:v>
                </c:pt>
                <c:pt idx="74">
                  <c:v>1.2194073739001134E-3</c:v>
                </c:pt>
                <c:pt idx="75">
                  <c:v>1.1464526759151911E-3</c:v>
                </c:pt>
                <c:pt idx="76">
                  <c:v>1.1151762950450319E-3</c:v>
                </c:pt>
                <c:pt idx="77">
                  <c:v>1.0807385951723807E-3</c:v>
                </c:pt>
                <c:pt idx="78">
                  <c:v>9.1699484012301919E-4</c:v>
                </c:pt>
                <c:pt idx="79">
                  <c:v>7.1436133391503001E-4</c:v>
                </c:pt>
                <c:pt idx="80">
                  <c:v>6.1137910793080167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en-US"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Dry Balance Sport Stick FPS50+ 40g</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933945390643E-2</c:v>
                </c:pt>
                <c:pt idx="1">
                  <c:v>5.7659695215661645E-2</c:v>
                </c:pt>
                <c:pt idx="2">
                  <c:v>5.1045117711516923E-2</c:v>
                </c:pt>
                <c:pt idx="3">
                  <c:v>4.5306601547029521E-2</c:v>
                </c:pt>
                <c:pt idx="4">
                  <c:v>4.3540462212390101E-2</c:v>
                </c:pt>
                <c:pt idx="5">
                  <c:v>4.3499126861840202E-2</c:v>
                </c:pt>
                <c:pt idx="6">
                  <c:v>3.5606859684102307E-2</c:v>
                </c:pt>
                <c:pt idx="7">
                  <c:v>3.1131317228658192E-2</c:v>
                </c:pt>
                <c:pt idx="8">
                  <c:v>2.7950089333194945E-2</c:v>
                </c:pt>
                <c:pt idx="9">
                  <c:v>2.7202200767908889E-2</c:v>
                </c:pt>
                <c:pt idx="10">
                  <c:v>2.2694442765283564E-2</c:v>
                </c:pt>
                <c:pt idx="11">
                  <c:v>2.2607708578539731E-2</c:v>
                </c:pt>
                <c:pt idx="12">
                  <c:v>2.0332086285221963E-2</c:v>
                </c:pt>
                <c:pt idx="13">
                  <c:v>1.9409097495612277E-2</c:v>
                </c:pt>
                <c:pt idx="14">
                  <c:v>1.7299936957823208E-2</c:v>
                </c:pt>
                <c:pt idx="15">
                  <c:v>1.7269027128541902E-2</c:v>
                </c:pt>
                <c:pt idx="16">
                  <c:v>1.7129428900825135E-2</c:v>
                </c:pt>
                <c:pt idx="17">
                  <c:v>1.5300942400360082E-2</c:v>
                </c:pt>
                <c:pt idx="18">
                  <c:v>1.480969411766862E-2</c:v>
                </c:pt>
                <c:pt idx="19">
                  <c:v>1.4656431584780161E-2</c:v>
                </c:pt>
                <c:pt idx="20">
                  <c:v>1.4071797626185677E-2</c:v>
                </c:pt>
                <c:pt idx="21">
                  <c:v>1.3504894163045875E-2</c:v>
                </c:pt>
                <c:pt idx="22">
                  <c:v>1.2454817041380212E-2</c:v>
                </c:pt>
                <c:pt idx="23">
                  <c:v>1.2156998399738037E-2</c:v>
                </c:pt>
                <c:pt idx="24">
                  <c:v>1.2006574117825665E-2</c:v>
                </c:pt>
                <c:pt idx="25">
                  <c:v>1.198907370474255E-2</c:v>
                </c:pt>
                <c:pt idx="26">
                  <c:v>1.1770211254224323E-2</c:v>
                </c:pt>
                <c:pt idx="27">
                  <c:v>1.0850363920835E-2</c:v>
                </c:pt>
                <c:pt idx="28">
                  <c:v>1.0558303480337866E-2</c:v>
                </c:pt>
                <c:pt idx="29">
                  <c:v>1.0351122493888344E-2</c:v>
                </c:pt>
                <c:pt idx="30">
                  <c:v>9.8903337129027519E-3</c:v>
                </c:pt>
                <c:pt idx="31">
                  <c:v>9.8844070463813202E-3</c:v>
                </c:pt>
                <c:pt idx="32">
                  <c:v>9.728900638728671E-3</c:v>
                </c:pt>
                <c:pt idx="33">
                  <c:v>9.6128088750666637E-3</c:v>
                </c:pt>
                <c:pt idx="34">
                  <c:v>9.2900939890578228E-3</c:v>
                </c:pt>
                <c:pt idx="35">
                  <c:v>9.2636091159197624E-3</c:v>
                </c:pt>
                <c:pt idx="36">
                  <c:v>9.252059782216715E-3</c:v>
                </c:pt>
                <c:pt idx="37">
                  <c:v>9.2504808534696406E-3</c:v>
                </c:pt>
                <c:pt idx="38">
                  <c:v>7.5663674838417332E-3</c:v>
                </c:pt>
                <c:pt idx="39">
                  <c:v>7.2315958979151124E-3</c:v>
                </c:pt>
                <c:pt idx="40">
                  <c:v>7.0336677661998618E-3</c:v>
                </c:pt>
                <c:pt idx="41">
                  <c:v>6.9393793488952832E-3</c:v>
                </c:pt>
                <c:pt idx="42">
                  <c:v>6.8398461386700677E-3</c:v>
                </c:pt>
                <c:pt idx="43">
                  <c:v>6.6529013523323396E-3</c:v>
                </c:pt>
                <c:pt idx="44">
                  <c:v>6.5723908874398846E-3</c:v>
                </c:pt>
                <c:pt idx="45">
                  <c:v>6.5005442198815128E-3</c:v>
                </c:pt>
                <c:pt idx="46">
                  <c:v>6.1241052381151989E-3</c:v>
                </c:pt>
                <c:pt idx="47">
                  <c:v>6.0639291656180722E-3</c:v>
                </c:pt>
                <c:pt idx="48">
                  <c:v>5.5588690893295803E-3</c:v>
                </c:pt>
                <c:pt idx="49">
                  <c:v>5.2746282837754545E-3</c:v>
                </c:pt>
                <c:pt idx="50">
                  <c:v>5.2271328708154196E-3</c:v>
                </c:pt>
                <c:pt idx="51">
                  <c:v>5.0256704521210119E-3</c:v>
                </c:pt>
                <c:pt idx="52">
                  <c:v>4.8258037687721198E-3</c:v>
                </c:pt>
                <c:pt idx="53">
                  <c:v>4.8043272719122078E-3</c:v>
                </c:pt>
                <c:pt idx="54">
                  <c:v>4.7157443328093513E-3</c:v>
                </c:pt>
                <c:pt idx="55">
                  <c:v>4.5952733687429134E-3</c:v>
                </c:pt>
                <c:pt idx="56">
                  <c:v>4.5369691104357578E-3</c:v>
                </c:pt>
                <c:pt idx="57">
                  <c:v>4.1575068606877858E-3</c:v>
                </c:pt>
                <c:pt idx="58">
                  <c:v>4.1026754667151206E-3</c:v>
                </c:pt>
                <c:pt idx="59">
                  <c:v>3.9496514470606578E-3</c:v>
                </c:pt>
                <c:pt idx="60">
                  <c:v>3.7853118246729167E-3</c:v>
                </c:pt>
                <c:pt idx="61">
                  <c:v>3.649550665525273E-3</c:v>
                </c:pt>
                <c:pt idx="62">
                  <c:v>3.4533811228186673E-3</c:v>
                </c:pt>
                <c:pt idx="63">
                  <c:v>3.0867165403017818E-3</c:v>
                </c:pt>
                <c:pt idx="64">
                  <c:v>3.0479690955595765E-3</c:v>
                </c:pt>
                <c:pt idx="65">
                  <c:v>2.7864388141406239E-3</c:v>
                </c:pt>
                <c:pt idx="66">
                  <c:v>2.6891510921169038E-3</c:v>
                </c:pt>
                <c:pt idx="67">
                  <c:v>2.0423592006343786E-3</c:v>
                </c:pt>
                <c:pt idx="68">
                  <c:v>1.8694827026608904E-3</c:v>
                </c:pt>
                <c:pt idx="69">
                  <c:v>1.6540953100851758E-3</c:v>
                </c:pt>
                <c:pt idx="70">
                  <c:v>1.6311244085207997E-3</c:v>
                </c:pt>
                <c:pt idx="71">
                  <c:v>1.4991662485609857E-3</c:v>
                </c:pt>
                <c:pt idx="72">
                  <c:v>1.4941229013151753E-3</c:v>
                </c:pt>
                <c:pt idx="73">
                  <c:v>1.2941766621935948E-3</c:v>
                </c:pt>
                <c:pt idx="74">
                  <c:v>1.230595479196185E-3</c:v>
                </c:pt>
                <c:pt idx="75">
                  <c:v>1.1535142314735042E-3</c:v>
                </c:pt>
                <c:pt idx="76">
                  <c:v>1.1219064952977897E-3</c:v>
                </c:pt>
                <c:pt idx="77">
                  <c:v>1.0849227566872388E-3</c:v>
                </c:pt>
                <c:pt idx="78">
                  <c:v>9.1843783863956754E-4</c:v>
                </c:pt>
                <c:pt idx="79">
                  <c:v>7.160294895445249E-4</c:v>
                </c:pt>
                <c:pt idx="80">
                  <c:v>6.195163596715710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lang="it-IT"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Banana Boat Dry Balance Sport Aerosol FPS50+ 200ml</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416554248639E-2</c:v>
                </c:pt>
                <c:pt idx="1">
                  <c:v>5.7599605353781121E-2</c:v>
                </c:pt>
                <c:pt idx="2">
                  <c:v>5.0995549222821963E-2</c:v>
                </c:pt>
                <c:pt idx="3">
                  <c:v>4.5291328957231924E-2</c:v>
                </c:pt>
                <c:pt idx="4">
                  <c:v>4.345999150455921E-2</c:v>
                </c:pt>
                <c:pt idx="5">
                  <c:v>4.3428186406853662E-2</c:v>
                </c:pt>
                <c:pt idx="6">
                  <c:v>3.5558705945735569E-2</c:v>
                </c:pt>
                <c:pt idx="7">
                  <c:v>3.1042362243785947E-2</c:v>
                </c:pt>
                <c:pt idx="8">
                  <c:v>2.7920871066470548E-2</c:v>
                </c:pt>
                <c:pt idx="9">
                  <c:v>2.7162261050185554E-2</c:v>
                </c:pt>
                <c:pt idx="10">
                  <c:v>2.2683810116671203E-2</c:v>
                </c:pt>
                <c:pt idx="11">
                  <c:v>2.2599109392061854E-2</c:v>
                </c:pt>
                <c:pt idx="12">
                  <c:v>2.0320925343735068E-2</c:v>
                </c:pt>
                <c:pt idx="13">
                  <c:v>1.9380382827017439E-2</c:v>
                </c:pt>
                <c:pt idx="14">
                  <c:v>1.7277140407953945E-2</c:v>
                </c:pt>
                <c:pt idx="15">
                  <c:v>1.7269601419091375E-2</c:v>
                </c:pt>
                <c:pt idx="16">
                  <c:v>1.7102830823705915E-2</c:v>
                </c:pt>
                <c:pt idx="17">
                  <c:v>1.5296689696083818E-2</c:v>
                </c:pt>
                <c:pt idx="18">
                  <c:v>1.4805156135345823E-2</c:v>
                </c:pt>
                <c:pt idx="19">
                  <c:v>1.4652672212159462E-2</c:v>
                </c:pt>
                <c:pt idx="20">
                  <c:v>1.406178316633642E-2</c:v>
                </c:pt>
                <c:pt idx="21">
                  <c:v>1.3496163224231769E-2</c:v>
                </c:pt>
                <c:pt idx="22">
                  <c:v>1.2450787222343267E-2</c:v>
                </c:pt>
                <c:pt idx="23">
                  <c:v>1.2118309905632762E-2</c:v>
                </c:pt>
                <c:pt idx="24">
                  <c:v>1.2003370643745442E-2</c:v>
                </c:pt>
                <c:pt idx="25">
                  <c:v>1.1980156840995699E-2</c:v>
                </c:pt>
                <c:pt idx="26">
                  <c:v>1.1769712355308354E-2</c:v>
                </c:pt>
                <c:pt idx="27">
                  <c:v>1.0847987543491205E-2</c:v>
                </c:pt>
                <c:pt idx="28">
                  <c:v>1.0552162861004452E-2</c:v>
                </c:pt>
                <c:pt idx="29">
                  <c:v>1.0360050769360182E-2</c:v>
                </c:pt>
                <c:pt idx="30">
                  <c:v>9.8899185894375848E-3</c:v>
                </c:pt>
                <c:pt idx="31">
                  <c:v>9.8746308709132223E-3</c:v>
                </c:pt>
                <c:pt idx="32">
                  <c:v>9.723225520314481E-3</c:v>
                </c:pt>
                <c:pt idx="33">
                  <c:v>9.6000331824610142E-3</c:v>
                </c:pt>
                <c:pt idx="34">
                  <c:v>9.29682314996675E-3</c:v>
                </c:pt>
                <c:pt idx="35">
                  <c:v>9.2549650428826926E-3</c:v>
                </c:pt>
                <c:pt idx="36">
                  <c:v>9.2529058840314093E-3</c:v>
                </c:pt>
                <c:pt idx="37">
                  <c:v>9.2520136655985259E-3</c:v>
                </c:pt>
                <c:pt idx="38">
                  <c:v>7.5594066496302431E-3</c:v>
                </c:pt>
                <c:pt idx="39">
                  <c:v>7.2352055370873223E-3</c:v>
                </c:pt>
                <c:pt idx="40">
                  <c:v>7.032673429537584E-3</c:v>
                </c:pt>
                <c:pt idx="41">
                  <c:v>6.9484546513561953E-3</c:v>
                </c:pt>
                <c:pt idx="42">
                  <c:v>6.8402632391951143E-3</c:v>
                </c:pt>
                <c:pt idx="43">
                  <c:v>6.6517401948756483E-3</c:v>
                </c:pt>
                <c:pt idx="44">
                  <c:v>6.5735375823494351E-3</c:v>
                </c:pt>
                <c:pt idx="45">
                  <c:v>6.4833097732679441E-3</c:v>
                </c:pt>
                <c:pt idx="46">
                  <c:v>6.1160782891833418E-3</c:v>
                </c:pt>
                <c:pt idx="47">
                  <c:v>6.0601531226206753E-3</c:v>
                </c:pt>
                <c:pt idx="48">
                  <c:v>5.562364398290197E-3</c:v>
                </c:pt>
                <c:pt idx="49">
                  <c:v>5.26006111783187E-3</c:v>
                </c:pt>
                <c:pt idx="50">
                  <c:v>5.2187167473699151E-3</c:v>
                </c:pt>
                <c:pt idx="51">
                  <c:v>5.0241126230130551E-3</c:v>
                </c:pt>
                <c:pt idx="52">
                  <c:v>4.808726354956128E-3</c:v>
                </c:pt>
                <c:pt idx="53">
                  <c:v>4.8038861951788065E-3</c:v>
                </c:pt>
                <c:pt idx="54">
                  <c:v>4.7132019099253211E-3</c:v>
                </c:pt>
                <c:pt idx="55">
                  <c:v>4.5922126207776862E-3</c:v>
                </c:pt>
                <c:pt idx="56">
                  <c:v>4.5412598022403798E-3</c:v>
                </c:pt>
                <c:pt idx="57">
                  <c:v>4.1548758295094365E-3</c:v>
                </c:pt>
                <c:pt idx="58">
                  <c:v>4.1104731799656803E-3</c:v>
                </c:pt>
                <c:pt idx="59">
                  <c:v>3.9513687904169205E-3</c:v>
                </c:pt>
                <c:pt idx="60">
                  <c:v>3.784930876342598E-3</c:v>
                </c:pt>
                <c:pt idx="61">
                  <c:v>3.6453783286378109E-3</c:v>
                </c:pt>
                <c:pt idx="62">
                  <c:v>3.4505628347228324E-3</c:v>
                </c:pt>
                <c:pt idx="63">
                  <c:v>3.0805888339081877E-3</c:v>
                </c:pt>
                <c:pt idx="64">
                  <c:v>3.0408001968317286E-3</c:v>
                </c:pt>
                <c:pt idx="65">
                  <c:v>2.9208164750534498E-3</c:v>
                </c:pt>
                <c:pt idx="66">
                  <c:v>2.7883314780490797E-3</c:v>
                </c:pt>
                <c:pt idx="67">
                  <c:v>2.6865052101212659E-3</c:v>
                </c:pt>
                <c:pt idx="68">
                  <c:v>1.8707704110431944E-3</c:v>
                </c:pt>
                <c:pt idx="69">
                  <c:v>1.6533125913672784E-3</c:v>
                </c:pt>
                <c:pt idx="70">
                  <c:v>1.634415818027937E-3</c:v>
                </c:pt>
                <c:pt idx="71">
                  <c:v>1.5036062142032016E-3</c:v>
                </c:pt>
                <c:pt idx="72">
                  <c:v>1.493540625070272E-3</c:v>
                </c:pt>
                <c:pt idx="73">
                  <c:v>1.2945032276814954E-3</c:v>
                </c:pt>
                <c:pt idx="74">
                  <c:v>1.2298061811038777E-3</c:v>
                </c:pt>
                <c:pt idx="75">
                  <c:v>1.1527566049463317E-3</c:v>
                </c:pt>
                <c:pt idx="76">
                  <c:v>1.1226450321129044E-3</c:v>
                </c:pt>
                <c:pt idx="77">
                  <c:v>1.0845485913792145E-3</c:v>
                </c:pt>
                <c:pt idx="78">
                  <c:v>9.1672121526301998E-4</c:v>
                </c:pt>
                <c:pt idx="79">
                  <c:v>7.1700191836627603E-4</c:v>
                </c:pt>
                <c:pt idx="80">
                  <c:v>6.200291913964137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006C6D"/>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r>
                      <a:rPr lang="sv-SE"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Sport Lotion FPS50+ 354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Hawaiian Tropic Sheer Touch Lotion FPS30 240ml</c:v>
                </c:pt>
                <c:pt idx="17">
                  <c:v>Nivea Sun Protect &amp; Refresh Sport Invisible Spray FPS50 20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Nuvel Suncare Kids Protection FPS50 120ml</c:v>
                </c:pt>
                <c:pt idx="55">
                  <c:v>Banana Boat Dry Balance Sport Lotion FPS50+ 18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699840188757349E-2</c:v>
                </c:pt>
                <c:pt idx="1">
                  <c:v>5.6449482486490773E-2</c:v>
                </c:pt>
                <c:pt idx="2">
                  <c:v>5.0015302933251952E-2</c:v>
                </c:pt>
                <c:pt idx="3">
                  <c:v>4.4596119706893395E-2</c:v>
                </c:pt>
                <c:pt idx="4">
                  <c:v>4.1999015639187738E-2</c:v>
                </c:pt>
                <c:pt idx="5">
                  <c:v>4.1628090785178186E-2</c:v>
                </c:pt>
                <c:pt idx="6">
                  <c:v>3.3835253014128194E-2</c:v>
                </c:pt>
                <c:pt idx="7">
                  <c:v>3.0087385348096067E-2</c:v>
                </c:pt>
                <c:pt idx="8">
                  <c:v>2.666405130619031E-2</c:v>
                </c:pt>
                <c:pt idx="9">
                  <c:v>2.606905031881112E-2</c:v>
                </c:pt>
                <c:pt idx="10">
                  <c:v>2.4672391272059231E-2</c:v>
                </c:pt>
                <c:pt idx="11">
                  <c:v>2.2296844042762359E-2</c:v>
                </c:pt>
                <c:pt idx="12">
                  <c:v>2.2039134068523144E-2</c:v>
                </c:pt>
                <c:pt idx="13">
                  <c:v>1.9742445040568886E-2</c:v>
                </c:pt>
                <c:pt idx="14">
                  <c:v>1.869115816931867E-2</c:v>
                </c:pt>
                <c:pt idx="15">
                  <c:v>1.7092083437588092E-2</c:v>
                </c:pt>
                <c:pt idx="16">
                  <c:v>1.6804268946845145E-2</c:v>
                </c:pt>
                <c:pt idx="17">
                  <c:v>1.6752611681029636E-2</c:v>
                </c:pt>
                <c:pt idx="18">
                  <c:v>1.5143907954257243E-2</c:v>
                </c:pt>
                <c:pt idx="19">
                  <c:v>1.4665193556296252E-2</c:v>
                </c:pt>
                <c:pt idx="20">
                  <c:v>1.4421374710274076E-2</c:v>
                </c:pt>
                <c:pt idx="21">
                  <c:v>1.3872107707212113E-2</c:v>
                </c:pt>
                <c:pt idx="22">
                  <c:v>1.3201571665816716E-2</c:v>
                </c:pt>
                <c:pt idx="23">
                  <c:v>1.2232441081151166E-2</c:v>
                </c:pt>
                <c:pt idx="24">
                  <c:v>1.1930564198093846E-2</c:v>
                </c:pt>
                <c:pt idx="25">
                  <c:v>1.1884955322745985E-2</c:v>
                </c:pt>
                <c:pt idx="26">
                  <c:v>1.1807961965148326E-2</c:v>
                </c:pt>
                <c:pt idx="27">
                  <c:v>1.1673217256707438E-2</c:v>
                </c:pt>
                <c:pt idx="28">
                  <c:v>1.0789409535668313E-2</c:v>
                </c:pt>
                <c:pt idx="29">
                  <c:v>1.0394219307109313E-2</c:v>
                </c:pt>
                <c:pt idx="30">
                  <c:v>1.022890584517765E-2</c:v>
                </c:pt>
                <c:pt idx="31">
                  <c:v>9.8070457437200199E-3</c:v>
                </c:pt>
                <c:pt idx="32">
                  <c:v>9.7364757727908136E-3</c:v>
                </c:pt>
                <c:pt idx="33">
                  <c:v>9.5824278831468414E-3</c:v>
                </c:pt>
                <c:pt idx="34">
                  <c:v>9.3752501426599688E-3</c:v>
                </c:pt>
                <c:pt idx="35">
                  <c:v>9.2229868185752274E-3</c:v>
                </c:pt>
                <c:pt idx="36">
                  <c:v>9.1666975743319359E-3</c:v>
                </c:pt>
                <c:pt idx="37">
                  <c:v>9.1354037124568351E-3</c:v>
                </c:pt>
                <c:pt idx="38">
                  <c:v>9.0357267831730551E-3</c:v>
                </c:pt>
                <c:pt idx="39">
                  <c:v>7.4668709687271094E-3</c:v>
                </c:pt>
                <c:pt idx="40">
                  <c:v>7.164123805971043E-3</c:v>
                </c:pt>
                <c:pt idx="41">
                  <c:v>6.9385151038018041E-3</c:v>
                </c:pt>
                <c:pt idx="42">
                  <c:v>6.9051485190054687E-3</c:v>
                </c:pt>
                <c:pt idx="43">
                  <c:v>6.8066969102015982E-3</c:v>
                </c:pt>
                <c:pt idx="44">
                  <c:v>6.5779309890314653E-3</c:v>
                </c:pt>
                <c:pt idx="45">
                  <c:v>6.4754819436126689E-3</c:v>
                </c:pt>
                <c:pt idx="46">
                  <c:v>6.3683089639129664E-3</c:v>
                </c:pt>
                <c:pt idx="47">
                  <c:v>6.0417227759624256E-3</c:v>
                </c:pt>
                <c:pt idx="48">
                  <c:v>5.9902186859379335E-3</c:v>
                </c:pt>
                <c:pt idx="49">
                  <c:v>5.4705633792393824E-3</c:v>
                </c:pt>
                <c:pt idx="50">
                  <c:v>5.1505606417565648E-3</c:v>
                </c:pt>
                <c:pt idx="51">
                  <c:v>5.1428860490208891E-3</c:v>
                </c:pt>
                <c:pt idx="52">
                  <c:v>4.9439624331801893E-3</c:v>
                </c:pt>
                <c:pt idx="53">
                  <c:v>4.7404411206832956E-3</c:v>
                </c:pt>
                <c:pt idx="54">
                  <c:v>4.6327332114576578E-3</c:v>
                </c:pt>
                <c:pt idx="55">
                  <c:v>4.6234914930041509E-3</c:v>
                </c:pt>
                <c:pt idx="56">
                  <c:v>4.5431126025869588E-3</c:v>
                </c:pt>
                <c:pt idx="57">
                  <c:v>4.4574715687854633E-3</c:v>
                </c:pt>
                <c:pt idx="58">
                  <c:v>4.0489502088581798E-3</c:v>
                </c:pt>
                <c:pt idx="59">
                  <c:v>4.0419983585179694E-3</c:v>
                </c:pt>
                <c:pt idx="60">
                  <c:v>3.8658957594636272E-3</c:v>
                </c:pt>
                <c:pt idx="61">
                  <c:v>3.7567022205986689E-3</c:v>
                </c:pt>
                <c:pt idx="62">
                  <c:v>3.5885639883517046E-3</c:v>
                </c:pt>
                <c:pt idx="63">
                  <c:v>3.3707933959303523E-3</c:v>
                </c:pt>
                <c:pt idx="64">
                  <c:v>3.0100891516625667E-3</c:v>
                </c:pt>
                <c:pt idx="65">
                  <c:v>2.9899635550796858E-3</c:v>
                </c:pt>
                <c:pt idx="66">
                  <c:v>2.7640674475776675E-3</c:v>
                </c:pt>
                <c:pt idx="67">
                  <c:v>2.6720479592200917E-3</c:v>
                </c:pt>
                <c:pt idx="68">
                  <c:v>1.853669437480178E-3</c:v>
                </c:pt>
                <c:pt idx="69">
                  <c:v>1.6406805325878157E-3</c:v>
                </c:pt>
                <c:pt idx="70">
                  <c:v>1.5940662231565294E-3</c:v>
                </c:pt>
                <c:pt idx="71">
                  <c:v>1.4680051711270167E-3</c:v>
                </c:pt>
                <c:pt idx="72">
                  <c:v>1.4572821830595856E-3</c:v>
                </c:pt>
                <c:pt idx="73">
                  <c:v>1.2737411125426708E-3</c:v>
                </c:pt>
                <c:pt idx="74">
                  <c:v>1.1753951796479023E-3</c:v>
                </c:pt>
                <c:pt idx="75">
                  <c:v>1.1323023952721036E-3</c:v>
                </c:pt>
                <c:pt idx="76">
                  <c:v>1.1141134461820055E-3</c:v>
                </c:pt>
                <c:pt idx="77">
                  <c:v>1.0777552264477964E-3</c:v>
                </c:pt>
                <c:pt idx="78">
                  <c:v>9.09157839276318E-4</c:v>
                </c:pt>
                <c:pt idx="79">
                  <c:v>7.0269541825970165E-4</c:v>
                </c:pt>
                <c:pt idx="80">
                  <c:v>6.0944970162734344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33603190658323</c:v>
                </c:pt>
                <c:pt idx="1">
                  <c:v>105.65624787138677</c:v>
                </c:pt>
                <c:pt idx="2">
                  <c:v>101.4556140684069</c:v>
                </c:pt>
                <c:pt idx="3">
                  <c:v>106.43449666723291</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2.6992158453333</c:v>
                </c:pt>
                <c:pt idx="1">
                  <c:v>105.95653872499588</c:v>
                </c:pt>
                <c:pt idx="2">
                  <c:v>101.76781612499404</c:v>
                </c:pt>
                <c:pt idx="3">
                  <c:v>107.463859084459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2.79260473818215</c:v>
                </c:pt>
                <c:pt idx="1">
                  <c:v>105.45822260665823</c:v>
                </c:pt>
                <c:pt idx="2">
                  <c:v>101.93220378382645</c:v>
                </c:pt>
                <c:pt idx="3">
                  <c:v>105.15610316435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6.8591294642131817E-2</c:v>
                </c:pt>
                <c:pt idx="1">
                  <c:v>7.0948204464332768E-2</c:v>
                </c:pt>
                <c:pt idx="2">
                  <c:v>4.4673356116726348E-2</c:v>
                </c:pt>
                <c:pt idx="3">
                  <c:v>4.9771649130334154E-2</c:v>
                </c:pt>
                <c:pt idx="4">
                  <c:v>3.9535441779668279E-2</c:v>
                </c:pt>
                <c:pt idx="5">
                  <c:v>3.925425931364853E-2</c:v>
                </c:pt>
                <c:pt idx="6">
                  <c:v>3.6160822818048381E-2</c:v>
                </c:pt>
                <c:pt idx="7">
                  <c:v>4.0711294187871588E-2</c:v>
                </c:pt>
                <c:pt idx="8">
                  <c:v>3.4486739218764058E-2</c:v>
                </c:pt>
                <c:pt idx="9">
                  <c:v>3.0630709044204087E-2</c:v>
                </c:pt>
                <c:pt idx="10">
                  <c:v>2.6181229311439021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7.3907542239911167E-2</c:v>
                </c:pt>
                <c:pt idx="1">
                  <c:v>4.9684877895553779E-2</c:v>
                </c:pt>
                <c:pt idx="2">
                  <c:v>3.3078013780438953E-2</c:v>
                </c:pt>
                <c:pt idx="3">
                  <c:v>3.5877906130648146E-2</c:v>
                </c:pt>
                <c:pt idx="4">
                  <c:v>2.4592708988257241E-2</c:v>
                </c:pt>
                <c:pt idx="5">
                  <c:v>2.6836925457093576E-2</c:v>
                </c:pt>
                <c:pt idx="6">
                  <c:v>2.3443045285191616E-2</c:v>
                </c:pt>
                <c:pt idx="7">
                  <c:v>1.8139482356950423E-2</c:v>
                </c:pt>
                <c:pt idx="8">
                  <c:v>3.8061879569496672E-2</c:v>
                </c:pt>
                <c:pt idx="9">
                  <c:v>3.5467971083880376E-2</c:v>
                </c:pt>
                <c:pt idx="10">
                  <c:v>2.9485826589802887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de-DE"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085508411757E-2</c:v>
                </c:pt>
                <c:pt idx="1">
                  <c:v>5.7639969067943331E-2</c:v>
                </c:pt>
                <c:pt idx="2">
                  <c:v>5.1000615378498156E-2</c:v>
                </c:pt>
                <c:pt idx="3">
                  <c:v>4.5273326131780874E-2</c:v>
                </c:pt>
                <c:pt idx="4">
                  <c:v>4.3494692772345606E-2</c:v>
                </c:pt>
                <c:pt idx="5">
                  <c:v>4.3474715605351356E-2</c:v>
                </c:pt>
                <c:pt idx="6">
                  <c:v>3.5578174495767993E-2</c:v>
                </c:pt>
                <c:pt idx="7">
                  <c:v>3.1059094893957202E-2</c:v>
                </c:pt>
                <c:pt idx="8">
                  <c:v>2.7905250970895003E-2</c:v>
                </c:pt>
                <c:pt idx="9">
                  <c:v>2.7153428110153546E-2</c:v>
                </c:pt>
                <c:pt idx="10">
                  <c:v>2.267849212444642E-2</c:v>
                </c:pt>
                <c:pt idx="11">
                  <c:v>2.2613414559176408E-2</c:v>
                </c:pt>
                <c:pt idx="12">
                  <c:v>2.0316114545521614E-2</c:v>
                </c:pt>
                <c:pt idx="13">
                  <c:v>1.9373847542933736E-2</c:v>
                </c:pt>
                <c:pt idx="14">
                  <c:v>1.7286940176302758E-2</c:v>
                </c:pt>
                <c:pt idx="15">
                  <c:v>1.7271736120733888E-2</c:v>
                </c:pt>
                <c:pt idx="16">
                  <c:v>1.7116743234729854E-2</c:v>
                </c:pt>
                <c:pt idx="17">
                  <c:v>1.529835851736492E-2</c:v>
                </c:pt>
                <c:pt idx="18">
                  <c:v>1.4801521425163269E-2</c:v>
                </c:pt>
                <c:pt idx="19">
                  <c:v>1.4650360922698861E-2</c:v>
                </c:pt>
                <c:pt idx="20">
                  <c:v>1.4066913487108954E-2</c:v>
                </c:pt>
                <c:pt idx="21">
                  <c:v>1.3493209208865172E-2</c:v>
                </c:pt>
                <c:pt idx="22">
                  <c:v>1.2439889521435639E-2</c:v>
                </c:pt>
                <c:pt idx="23">
                  <c:v>1.2185881715365585E-2</c:v>
                </c:pt>
                <c:pt idx="24">
                  <c:v>1.20086565676055E-2</c:v>
                </c:pt>
                <c:pt idx="25">
                  <c:v>1.197785645337366E-2</c:v>
                </c:pt>
                <c:pt idx="26">
                  <c:v>1.1767431579766674E-2</c:v>
                </c:pt>
                <c:pt idx="27">
                  <c:v>1.0842487591841796E-2</c:v>
                </c:pt>
                <c:pt idx="28">
                  <c:v>1.0552572782383229E-2</c:v>
                </c:pt>
                <c:pt idx="29">
                  <c:v>1.0355578213006558E-2</c:v>
                </c:pt>
                <c:pt idx="30">
                  <c:v>9.8888772145514173E-3</c:v>
                </c:pt>
                <c:pt idx="31">
                  <c:v>9.8884770369772629E-3</c:v>
                </c:pt>
                <c:pt idx="32">
                  <c:v>9.7175694764535924E-3</c:v>
                </c:pt>
                <c:pt idx="33">
                  <c:v>9.6113651291865158E-3</c:v>
                </c:pt>
                <c:pt idx="34">
                  <c:v>9.2906510619868501E-3</c:v>
                </c:pt>
                <c:pt idx="35">
                  <c:v>9.2558670736528088E-3</c:v>
                </c:pt>
                <c:pt idx="36">
                  <c:v>9.249862896442855E-3</c:v>
                </c:pt>
                <c:pt idx="37">
                  <c:v>9.2388514565466973E-3</c:v>
                </c:pt>
                <c:pt idx="38">
                  <c:v>7.5606504333246205E-3</c:v>
                </c:pt>
                <c:pt idx="39">
                  <c:v>7.2335934544978673E-3</c:v>
                </c:pt>
                <c:pt idx="40">
                  <c:v>7.0297594628033764E-3</c:v>
                </c:pt>
                <c:pt idx="41">
                  <c:v>6.9387381523340523E-3</c:v>
                </c:pt>
                <c:pt idx="42">
                  <c:v>6.8338375734844185E-3</c:v>
                </c:pt>
                <c:pt idx="43">
                  <c:v>6.6484901727433413E-3</c:v>
                </c:pt>
                <c:pt idx="44">
                  <c:v>6.5712075329445382E-3</c:v>
                </c:pt>
                <c:pt idx="45">
                  <c:v>6.5006767404010464E-3</c:v>
                </c:pt>
                <c:pt idx="46">
                  <c:v>6.1233730804125235E-3</c:v>
                </c:pt>
                <c:pt idx="47">
                  <c:v>6.0582840563313881E-3</c:v>
                </c:pt>
                <c:pt idx="48">
                  <c:v>5.5606246701893763E-3</c:v>
                </c:pt>
                <c:pt idx="49">
                  <c:v>5.2723569803142262E-3</c:v>
                </c:pt>
                <c:pt idx="50">
                  <c:v>5.2251064863858294E-3</c:v>
                </c:pt>
                <c:pt idx="51">
                  <c:v>5.0341355221294824E-3</c:v>
                </c:pt>
                <c:pt idx="52">
                  <c:v>4.8260283382483143E-3</c:v>
                </c:pt>
                <c:pt idx="53">
                  <c:v>4.7982084022553263E-3</c:v>
                </c:pt>
                <c:pt idx="54">
                  <c:v>4.7131123189171073E-3</c:v>
                </c:pt>
                <c:pt idx="55">
                  <c:v>4.6034705732240985E-3</c:v>
                </c:pt>
                <c:pt idx="56">
                  <c:v>4.5390921291719091E-3</c:v>
                </c:pt>
                <c:pt idx="57">
                  <c:v>4.1496263956248489E-3</c:v>
                </c:pt>
                <c:pt idx="58">
                  <c:v>4.1026771836553729E-3</c:v>
                </c:pt>
                <c:pt idx="59">
                  <c:v>3.9497550759359113E-3</c:v>
                </c:pt>
                <c:pt idx="60">
                  <c:v>3.7831682259621409E-3</c:v>
                </c:pt>
                <c:pt idx="61">
                  <c:v>3.6449937861817321E-3</c:v>
                </c:pt>
                <c:pt idx="62">
                  <c:v>3.4535675118202154E-3</c:v>
                </c:pt>
                <c:pt idx="63">
                  <c:v>3.0838852668787346E-3</c:v>
                </c:pt>
                <c:pt idx="64">
                  <c:v>3.0472938690694015E-3</c:v>
                </c:pt>
                <c:pt idx="65">
                  <c:v>2.7887299606089394E-3</c:v>
                </c:pt>
                <c:pt idx="66">
                  <c:v>2.6906951686712318E-3</c:v>
                </c:pt>
                <c:pt idx="67">
                  <c:v>2.6519066663750522E-3</c:v>
                </c:pt>
                <c:pt idx="68">
                  <c:v>1.869818685526901E-3</c:v>
                </c:pt>
                <c:pt idx="69">
                  <c:v>1.6551979711727858E-3</c:v>
                </c:pt>
                <c:pt idx="70">
                  <c:v>1.6346886202683304E-3</c:v>
                </c:pt>
                <c:pt idx="71">
                  <c:v>1.5039918137161987E-3</c:v>
                </c:pt>
                <c:pt idx="72">
                  <c:v>1.4973258660141917E-3</c:v>
                </c:pt>
                <c:pt idx="73">
                  <c:v>1.2948713158232681E-3</c:v>
                </c:pt>
                <c:pt idx="74">
                  <c:v>1.2308330493843503E-3</c:v>
                </c:pt>
                <c:pt idx="75">
                  <c:v>1.1542982328136822E-3</c:v>
                </c:pt>
                <c:pt idx="76">
                  <c:v>1.1232326621813254E-3</c:v>
                </c:pt>
                <c:pt idx="77">
                  <c:v>1.0848396897445033E-3</c:v>
                </c:pt>
                <c:pt idx="78">
                  <c:v>9.2000363016150888E-4</c:v>
                </c:pt>
                <c:pt idx="79">
                  <c:v>7.1609062345188588E-4</c:v>
                </c:pt>
                <c:pt idx="80">
                  <c:v>6.181125024116784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7.2252266642880814E-2</c:v>
                </c:pt>
                <c:pt idx="1">
                  <c:v>6.958423171826103E-2</c:v>
                </c:pt>
                <c:pt idx="2">
                  <c:v>5.0680313151606579E-2</c:v>
                </c:pt>
                <c:pt idx="3">
                  <c:v>5.5542879172065081E-2</c:v>
                </c:pt>
                <c:pt idx="4">
                  <c:v>4.1484154000128899E-2</c:v>
                </c:pt>
                <c:pt idx="5">
                  <c:v>3.5251917013679475E-2</c:v>
                </c:pt>
                <c:pt idx="6">
                  <c:v>3.3363139641382489E-2</c:v>
                </c:pt>
                <c:pt idx="7">
                  <c:v>2.6358060175070988E-2</c:v>
                </c:pt>
                <c:pt idx="8">
                  <c:v>3.9860266823283717E-2</c:v>
                </c:pt>
                <c:pt idx="9">
                  <c:v>2.7744818697446754E-2</c:v>
                </c:pt>
                <c:pt idx="10">
                  <c:v>2.5846621883426828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5.5169296848915528E-2</c:v>
                </c:pt>
                <c:pt idx="1">
                  <c:v>7.8531833528836512E-2</c:v>
                </c:pt>
                <c:pt idx="2">
                  <c:v>6.5214747174008339E-2</c:v>
                </c:pt>
                <c:pt idx="3">
                  <c:v>4.528168510008819E-2</c:v>
                </c:pt>
                <c:pt idx="4">
                  <c:v>7.7870977358748455E-2</c:v>
                </c:pt>
                <c:pt idx="5">
                  <c:v>7.4026765037019812E-2</c:v>
                </c:pt>
                <c:pt idx="6">
                  <c:v>4.3680155912350777E-2</c:v>
                </c:pt>
                <c:pt idx="7">
                  <c:v>4.742944349741432E-2</c:v>
                </c:pt>
                <c:pt idx="8">
                  <c:v>1.232836445492227E-2</c:v>
                </c:pt>
                <c:pt idx="9">
                  <c:v>2.5980977685511678E-2</c:v>
                </c:pt>
                <c:pt idx="10">
                  <c:v>3.123744597196455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5572277626018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49564303492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4924707899547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6.657595872964385E-2</c:v>
                </c:pt>
                <c:pt idx="1">
                  <c:v>6.4358183782374984E-2</c:v>
                </c:pt>
                <c:pt idx="2">
                  <c:v>5.4865394861463739E-2</c:v>
                </c:pt>
                <c:pt idx="3">
                  <c:v>4.2734017476789177E-2</c:v>
                </c:pt>
                <c:pt idx="4">
                  <c:v>3.5256167065805047E-2</c:v>
                </c:pt>
                <c:pt idx="5">
                  <c:v>3.48358610878809E-2</c:v>
                </c:pt>
                <c:pt idx="6">
                  <c:v>3.2361620237228828E-2</c:v>
                </c:pt>
                <c:pt idx="7">
                  <c:v>3.1485206857781389E-2</c:v>
                </c:pt>
                <c:pt idx="8">
                  <c:v>2.814518433318839E-2</c:v>
                </c:pt>
                <c:pt idx="9">
                  <c:v>2.6551432339693086E-2</c:v>
                </c:pt>
                <c:pt idx="10">
                  <c:v>2.592950455345541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lang="en-US"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7720838469254E-2</c:v>
                </c:pt>
                <c:pt idx="1">
                  <c:v>5.7722248615717994E-2</c:v>
                </c:pt>
                <c:pt idx="2">
                  <c:v>5.1040641503840009E-2</c:v>
                </c:pt>
                <c:pt idx="3">
                  <c:v>4.5317492973395941E-2</c:v>
                </c:pt>
                <c:pt idx="4">
                  <c:v>4.3537173339973034E-2</c:v>
                </c:pt>
                <c:pt idx="5">
                  <c:v>4.3503768517221715E-2</c:v>
                </c:pt>
                <c:pt idx="6">
                  <c:v>3.5621200605687325E-2</c:v>
                </c:pt>
                <c:pt idx="7">
                  <c:v>3.1167240088152894E-2</c:v>
                </c:pt>
                <c:pt idx="8">
                  <c:v>2.7957458005984148E-2</c:v>
                </c:pt>
                <c:pt idx="9">
                  <c:v>2.7210122288597025E-2</c:v>
                </c:pt>
                <c:pt idx="10">
                  <c:v>2.2688928809820614E-2</c:v>
                </c:pt>
                <c:pt idx="11">
                  <c:v>2.2630227122231353E-2</c:v>
                </c:pt>
                <c:pt idx="12">
                  <c:v>2.0343944746245065E-2</c:v>
                </c:pt>
                <c:pt idx="13">
                  <c:v>1.942204722691044E-2</c:v>
                </c:pt>
                <c:pt idx="14">
                  <c:v>1.7306355724314076E-2</c:v>
                </c:pt>
                <c:pt idx="15">
                  <c:v>1.7286594182965298E-2</c:v>
                </c:pt>
                <c:pt idx="16">
                  <c:v>1.7136797809085769E-2</c:v>
                </c:pt>
                <c:pt idx="17">
                  <c:v>1.529475671222473E-2</c:v>
                </c:pt>
                <c:pt idx="18">
                  <c:v>1.4817867984851463E-2</c:v>
                </c:pt>
                <c:pt idx="19">
                  <c:v>1.4634506003251981E-2</c:v>
                </c:pt>
                <c:pt idx="20">
                  <c:v>1.4076297047913383E-2</c:v>
                </c:pt>
                <c:pt idx="21">
                  <c:v>1.3508464726890785E-2</c:v>
                </c:pt>
                <c:pt idx="22">
                  <c:v>1.245832240581279E-2</c:v>
                </c:pt>
                <c:pt idx="23">
                  <c:v>1.2202624555518913E-2</c:v>
                </c:pt>
                <c:pt idx="24">
                  <c:v>1.2014479649420887E-2</c:v>
                </c:pt>
                <c:pt idx="25">
                  <c:v>1.1984732041639632E-2</c:v>
                </c:pt>
                <c:pt idx="26">
                  <c:v>1.1767794166016114E-2</c:v>
                </c:pt>
                <c:pt idx="27">
                  <c:v>1.0831904289996726E-2</c:v>
                </c:pt>
                <c:pt idx="28">
                  <c:v>1.0540014882484053E-2</c:v>
                </c:pt>
                <c:pt idx="29">
                  <c:v>1.0362211448925723E-2</c:v>
                </c:pt>
                <c:pt idx="30">
                  <c:v>9.8893126889818394E-3</c:v>
                </c:pt>
                <c:pt idx="31">
                  <c:v>9.8828510933091935E-3</c:v>
                </c:pt>
                <c:pt idx="32">
                  <c:v>9.7265993158374229E-3</c:v>
                </c:pt>
                <c:pt idx="33">
                  <c:v>9.6069796942065758E-3</c:v>
                </c:pt>
                <c:pt idx="34">
                  <c:v>9.2864425918512926E-3</c:v>
                </c:pt>
                <c:pt idx="35">
                  <c:v>9.26047676066254E-3</c:v>
                </c:pt>
                <c:pt idx="36">
                  <c:v>9.2594439250262717E-3</c:v>
                </c:pt>
                <c:pt idx="37">
                  <c:v>9.2403642651793134E-3</c:v>
                </c:pt>
                <c:pt idx="38">
                  <c:v>7.5571161012326742E-3</c:v>
                </c:pt>
                <c:pt idx="39">
                  <c:v>7.2255745381884159E-3</c:v>
                </c:pt>
                <c:pt idx="40">
                  <c:v>7.0277151062414882E-3</c:v>
                </c:pt>
                <c:pt idx="41">
                  <c:v>6.9428146970175342E-3</c:v>
                </c:pt>
                <c:pt idx="42">
                  <c:v>6.8450493045978259E-3</c:v>
                </c:pt>
                <c:pt idx="43">
                  <c:v>6.645479751196416E-3</c:v>
                </c:pt>
                <c:pt idx="44">
                  <c:v>6.5772288977505042E-3</c:v>
                </c:pt>
                <c:pt idx="45">
                  <c:v>6.5123233744375734E-3</c:v>
                </c:pt>
                <c:pt idx="46">
                  <c:v>6.1415730213078869E-3</c:v>
                </c:pt>
                <c:pt idx="47">
                  <c:v>6.0505403741790602E-3</c:v>
                </c:pt>
                <c:pt idx="48">
                  <c:v>5.5632649878121429E-3</c:v>
                </c:pt>
                <c:pt idx="49">
                  <c:v>5.2740652142101545E-3</c:v>
                </c:pt>
                <c:pt idx="50">
                  <c:v>5.2217767627743515E-3</c:v>
                </c:pt>
                <c:pt idx="51">
                  <c:v>5.0368795061306697E-3</c:v>
                </c:pt>
                <c:pt idx="52">
                  <c:v>4.8340840518613674E-3</c:v>
                </c:pt>
                <c:pt idx="53">
                  <c:v>4.8118046411312811E-3</c:v>
                </c:pt>
                <c:pt idx="54">
                  <c:v>4.7144834855187183E-3</c:v>
                </c:pt>
                <c:pt idx="55">
                  <c:v>4.5856999129928553E-3</c:v>
                </c:pt>
                <c:pt idx="56">
                  <c:v>4.5409325665227776E-3</c:v>
                </c:pt>
                <c:pt idx="57">
                  <c:v>4.1657480256516643E-3</c:v>
                </c:pt>
                <c:pt idx="58">
                  <c:v>4.1101719541272053E-3</c:v>
                </c:pt>
                <c:pt idx="59">
                  <c:v>3.9511567415674792E-3</c:v>
                </c:pt>
                <c:pt idx="60">
                  <c:v>3.7905338102417387E-3</c:v>
                </c:pt>
                <c:pt idx="61">
                  <c:v>3.6510582855175276E-3</c:v>
                </c:pt>
                <c:pt idx="62">
                  <c:v>3.4540603449409015E-3</c:v>
                </c:pt>
                <c:pt idx="63">
                  <c:v>3.090240578689658E-3</c:v>
                </c:pt>
                <c:pt idx="64">
                  <c:v>3.0545605825607288E-3</c:v>
                </c:pt>
                <c:pt idx="65">
                  <c:v>2.79017606208449E-3</c:v>
                </c:pt>
                <c:pt idx="66">
                  <c:v>2.6848125460827493E-3</c:v>
                </c:pt>
                <c:pt idx="67">
                  <c:v>1.8631167930163207E-3</c:v>
                </c:pt>
                <c:pt idx="68">
                  <c:v>1.7865800875041312E-3</c:v>
                </c:pt>
                <c:pt idx="69">
                  <c:v>1.6483094070555981E-3</c:v>
                </c:pt>
                <c:pt idx="70">
                  <c:v>1.6351143403608558E-3</c:v>
                </c:pt>
                <c:pt idx="71">
                  <c:v>1.5040255440291969E-3</c:v>
                </c:pt>
                <c:pt idx="72">
                  <c:v>1.488480438473432E-3</c:v>
                </c:pt>
                <c:pt idx="73">
                  <c:v>1.2929960667779907E-3</c:v>
                </c:pt>
                <c:pt idx="74">
                  <c:v>1.232210439562923E-3</c:v>
                </c:pt>
                <c:pt idx="75">
                  <c:v>1.1546253080318423E-3</c:v>
                </c:pt>
                <c:pt idx="76">
                  <c:v>1.1202189029113623E-3</c:v>
                </c:pt>
                <c:pt idx="77">
                  <c:v>1.083581698695554E-3</c:v>
                </c:pt>
                <c:pt idx="78">
                  <c:v>9.1965122206732921E-4</c:v>
                </c:pt>
                <c:pt idx="79">
                  <c:v>7.1579484537498265E-4</c:v>
                </c:pt>
                <c:pt idx="80">
                  <c:v>6.17961030956871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lang="en-US"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77280953400678E-2</c:v>
                </c:pt>
                <c:pt idx="1">
                  <c:v>5.7750922991732255E-2</c:v>
                </c:pt>
                <c:pt idx="2">
                  <c:v>5.1048184970829517E-2</c:v>
                </c:pt>
                <c:pt idx="3">
                  <c:v>4.5330386283289788E-2</c:v>
                </c:pt>
                <c:pt idx="4">
                  <c:v>4.357126735301551E-2</c:v>
                </c:pt>
                <c:pt idx="5">
                  <c:v>4.3521534928725632E-2</c:v>
                </c:pt>
                <c:pt idx="6">
                  <c:v>3.563672216384102E-2</c:v>
                </c:pt>
                <c:pt idx="7">
                  <c:v>3.1187708053411929E-2</c:v>
                </c:pt>
                <c:pt idx="8">
                  <c:v>2.7965905125356301E-2</c:v>
                </c:pt>
                <c:pt idx="9">
                  <c:v>2.7227868997096935E-2</c:v>
                </c:pt>
                <c:pt idx="10">
                  <c:v>2.2708925648279425E-2</c:v>
                </c:pt>
                <c:pt idx="11">
                  <c:v>2.2652237734616949E-2</c:v>
                </c:pt>
                <c:pt idx="12">
                  <c:v>2.0362425033916741E-2</c:v>
                </c:pt>
                <c:pt idx="13">
                  <c:v>1.9434593852225124E-2</c:v>
                </c:pt>
                <c:pt idx="14">
                  <c:v>1.7309623974287494E-2</c:v>
                </c:pt>
                <c:pt idx="15">
                  <c:v>1.7298725854840376E-2</c:v>
                </c:pt>
                <c:pt idx="16">
                  <c:v>1.7136017653726677E-2</c:v>
                </c:pt>
                <c:pt idx="17">
                  <c:v>1.5304390969490057E-2</c:v>
                </c:pt>
                <c:pt idx="18">
                  <c:v>1.4839844748560293E-2</c:v>
                </c:pt>
                <c:pt idx="19">
                  <c:v>1.4656438495701586E-2</c:v>
                </c:pt>
                <c:pt idx="20">
                  <c:v>1.4082015297102405E-2</c:v>
                </c:pt>
                <c:pt idx="21">
                  <c:v>1.3521880795126957E-2</c:v>
                </c:pt>
                <c:pt idx="22">
                  <c:v>1.246917355201865E-2</c:v>
                </c:pt>
                <c:pt idx="23">
                  <c:v>1.2222237784141207E-2</c:v>
                </c:pt>
                <c:pt idx="24">
                  <c:v>1.2016356444688103E-2</c:v>
                </c:pt>
                <c:pt idx="25">
                  <c:v>1.1992168141999578E-2</c:v>
                </c:pt>
                <c:pt idx="26">
                  <c:v>1.1775209634276505E-2</c:v>
                </c:pt>
                <c:pt idx="27">
                  <c:v>1.0856783460949112E-2</c:v>
                </c:pt>
                <c:pt idx="28">
                  <c:v>1.0560880604101697E-2</c:v>
                </c:pt>
                <c:pt idx="29">
                  <c:v>1.0370404113284657E-2</c:v>
                </c:pt>
                <c:pt idx="30">
                  <c:v>9.9046714319594477E-3</c:v>
                </c:pt>
                <c:pt idx="31">
                  <c:v>9.8895565123915639E-3</c:v>
                </c:pt>
                <c:pt idx="32">
                  <c:v>9.7337330885631668E-3</c:v>
                </c:pt>
                <c:pt idx="33">
                  <c:v>9.6158262483298038E-3</c:v>
                </c:pt>
                <c:pt idx="34">
                  <c:v>9.2909282141431706E-3</c:v>
                </c:pt>
                <c:pt idx="35">
                  <c:v>9.2720225711740156E-3</c:v>
                </c:pt>
                <c:pt idx="36">
                  <c:v>9.2645522559774342E-3</c:v>
                </c:pt>
                <c:pt idx="37">
                  <c:v>9.2559440337512209E-3</c:v>
                </c:pt>
                <c:pt idx="38">
                  <c:v>7.5665944355986486E-3</c:v>
                </c:pt>
                <c:pt idx="39">
                  <c:v>7.2362716381883232E-3</c:v>
                </c:pt>
                <c:pt idx="40">
                  <c:v>7.0315802248962266E-3</c:v>
                </c:pt>
                <c:pt idx="41">
                  <c:v>6.9523202991781533E-3</c:v>
                </c:pt>
                <c:pt idx="42">
                  <c:v>6.8462922984275556E-3</c:v>
                </c:pt>
                <c:pt idx="43">
                  <c:v>6.6532558733695965E-3</c:v>
                </c:pt>
                <c:pt idx="44">
                  <c:v>6.5849061591645459E-3</c:v>
                </c:pt>
                <c:pt idx="45">
                  <c:v>6.5194512600607966E-3</c:v>
                </c:pt>
                <c:pt idx="46">
                  <c:v>6.1459391141393859E-3</c:v>
                </c:pt>
                <c:pt idx="47">
                  <c:v>6.060073607638875E-3</c:v>
                </c:pt>
                <c:pt idx="48">
                  <c:v>5.5719679070018657E-3</c:v>
                </c:pt>
                <c:pt idx="49">
                  <c:v>5.2787116077312613E-3</c:v>
                </c:pt>
                <c:pt idx="50">
                  <c:v>5.238950181476144E-3</c:v>
                </c:pt>
                <c:pt idx="51">
                  <c:v>5.0462405594437479E-3</c:v>
                </c:pt>
                <c:pt idx="52">
                  <c:v>4.8459471158025349E-3</c:v>
                </c:pt>
                <c:pt idx="53">
                  <c:v>4.8183464426845967E-3</c:v>
                </c:pt>
                <c:pt idx="54">
                  <c:v>4.7200557003717085E-3</c:v>
                </c:pt>
                <c:pt idx="55">
                  <c:v>4.6029154185285963E-3</c:v>
                </c:pt>
                <c:pt idx="56">
                  <c:v>4.5436748897801282E-3</c:v>
                </c:pt>
                <c:pt idx="57">
                  <c:v>4.1708456179114775E-3</c:v>
                </c:pt>
                <c:pt idx="58">
                  <c:v>4.1143318736573528E-3</c:v>
                </c:pt>
                <c:pt idx="59">
                  <c:v>3.9557079862406752E-3</c:v>
                </c:pt>
                <c:pt idx="60">
                  <c:v>3.791172708677573E-3</c:v>
                </c:pt>
                <c:pt idx="61">
                  <c:v>3.6541995738441774E-3</c:v>
                </c:pt>
                <c:pt idx="62">
                  <c:v>3.4615747102425495E-3</c:v>
                </c:pt>
                <c:pt idx="63">
                  <c:v>3.0954825505912983E-3</c:v>
                </c:pt>
                <c:pt idx="64">
                  <c:v>3.0605274391434286E-3</c:v>
                </c:pt>
                <c:pt idx="65">
                  <c:v>2.791049912401197E-3</c:v>
                </c:pt>
                <c:pt idx="66">
                  <c:v>2.6895442312210062E-3</c:v>
                </c:pt>
                <c:pt idx="67">
                  <c:v>1.8713692085513569E-3</c:v>
                </c:pt>
                <c:pt idx="68">
                  <c:v>1.6543063753187367E-3</c:v>
                </c:pt>
                <c:pt idx="69">
                  <c:v>1.6407605937150069E-3</c:v>
                </c:pt>
                <c:pt idx="70">
                  <c:v>1.5100055341609085E-3</c:v>
                </c:pt>
                <c:pt idx="71">
                  <c:v>1.4967456268917237E-3</c:v>
                </c:pt>
                <c:pt idx="72">
                  <c:v>1.2951208662752513E-3</c:v>
                </c:pt>
                <c:pt idx="73">
                  <c:v>1.2343669819561284E-3</c:v>
                </c:pt>
                <c:pt idx="74">
                  <c:v>1.1572528655326424E-3</c:v>
                </c:pt>
                <c:pt idx="75">
                  <c:v>1.1246342779003102E-3</c:v>
                </c:pt>
                <c:pt idx="76">
                  <c:v>1.0849884856173584E-3</c:v>
                </c:pt>
                <c:pt idx="77">
                  <c:v>1.0082753009693288E-3</c:v>
                </c:pt>
                <c:pt idx="78">
                  <c:v>9.2065004631187747E-4</c:v>
                </c:pt>
                <c:pt idx="79">
                  <c:v>7.1736780908596143E-4</c:v>
                </c:pt>
                <c:pt idx="80">
                  <c:v>6.208747199772942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lang="en-US"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CH"/>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116586337942E-2</c:v>
                </c:pt>
                <c:pt idx="1">
                  <c:v>5.7727009809229554E-2</c:v>
                </c:pt>
                <c:pt idx="2">
                  <c:v>5.1033229667225163E-2</c:v>
                </c:pt>
                <c:pt idx="3">
                  <c:v>4.5298994266683268E-2</c:v>
                </c:pt>
                <c:pt idx="4">
                  <c:v>4.3539845978341117E-2</c:v>
                </c:pt>
                <c:pt idx="5">
                  <c:v>4.3503334339193664E-2</c:v>
                </c:pt>
                <c:pt idx="6">
                  <c:v>3.562369311322839E-2</c:v>
                </c:pt>
                <c:pt idx="7">
                  <c:v>3.1174131128512989E-2</c:v>
                </c:pt>
                <c:pt idx="8">
                  <c:v>2.7958092011429406E-2</c:v>
                </c:pt>
                <c:pt idx="9">
                  <c:v>2.721719822032883E-2</c:v>
                </c:pt>
                <c:pt idx="10">
                  <c:v>2.2691604514689094E-2</c:v>
                </c:pt>
                <c:pt idx="11">
                  <c:v>2.2640358146830651E-2</c:v>
                </c:pt>
                <c:pt idx="12">
                  <c:v>2.0341978264644494E-2</c:v>
                </c:pt>
                <c:pt idx="13">
                  <c:v>1.9427710922205261E-2</c:v>
                </c:pt>
                <c:pt idx="14">
                  <c:v>1.7305253145110864E-2</c:v>
                </c:pt>
                <c:pt idx="15">
                  <c:v>1.7286023296873398E-2</c:v>
                </c:pt>
                <c:pt idx="16">
                  <c:v>1.7131845400897558E-2</c:v>
                </c:pt>
                <c:pt idx="17">
                  <c:v>1.528717494779972E-2</c:v>
                </c:pt>
                <c:pt idx="18">
                  <c:v>1.4817577628772239E-2</c:v>
                </c:pt>
                <c:pt idx="19">
                  <c:v>1.4636072421214166E-2</c:v>
                </c:pt>
                <c:pt idx="20">
                  <c:v>1.406738908200484E-2</c:v>
                </c:pt>
                <c:pt idx="21">
                  <c:v>1.3507021857534326E-2</c:v>
                </c:pt>
                <c:pt idx="22">
                  <c:v>1.2461700156210901E-2</c:v>
                </c:pt>
                <c:pt idx="23">
                  <c:v>1.2212222979255243E-2</c:v>
                </c:pt>
                <c:pt idx="24">
                  <c:v>1.2012942369161374E-2</c:v>
                </c:pt>
                <c:pt idx="25">
                  <c:v>1.1985340872291875E-2</c:v>
                </c:pt>
                <c:pt idx="26">
                  <c:v>1.1768079073363228E-2</c:v>
                </c:pt>
                <c:pt idx="27">
                  <c:v>1.0836051440423438E-2</c:v>
                </c:pt>
                <c:pt idx="28">
                  <c:v>1.0543960936807463E-2</c:v>
                </c:pt>
                <c:pt idx="29">
                  <c:v>1.0363034879322034E-2</c:v>
                </c:pt>
                <c:pt idx="30">
                  <c:v>9.8998653671740558E-3</c:v>
                </c:pt>
                <c:pt idx="31">
                  <c:v>9.864999044565342E-3</c:v>
                </c:pt>
                <c:pt idx="32">
                  <c:v>9.7225367793286541E-3</c:v>
                </c:pt>
                <c:pt idx="33">
                  <c:v>9.6102456031991346E-3</c:v>
                </c:pt>
                <c:pt idx="34">
                  <c:v>9.2777536078499281E-3</c:v>
                </c:pt>
                <c:pt idx="35">
                  <c:v>9.2552794413237726E-3</c:v>
                </c:pt>
                <c:pt idx="36">
                  <c:v>9.2537720042908216E-3</c:v>
                </c:pt>
                <c:pt idx="37">
                  <c:v>9.2352470874547034E-3</c:v>
                </c:pt>
                <c:pt idx="38">
                  <c:v>7.5514829751739451E-3</c:v>
                </c:pt>
                <c:pt idx="39">
                  <c:v>7.2229459769509582E-3</c:v>
                </c:pt>
                <c:pt idx="40">
                  <c:v>7.0120363132150617E-3</c:v>
                </c:pt>
                <c:pt idx="41">
                  <c:v>6.9429083315322316E-3</c:v>
                </c:pt>
                <c:pt idx="42">
                  <c:v>6.8441356362010375E-3</c:v>
                </c:pt>
                <c:pt idx="43">
                  <c:v>6.6461019631652365E-3</c:v>
                </c:pt>
                <c:pt idx="44">
                  <c:v>6.5740494131881081E-3</c:v>
                </c:pt>
                <c:pt idx="45">
                  <c:v>6.514025997116835E-3</c:v>
                </c:pt>
                <c:pt idx="46">
                  <c:v>6.1399886251435254E-3</c:v>
                </c:pt>
                <c:pt idx="47">
                  <c:v>6.046257235125212E-3</c:v>
                </c:pt>
                <c:pt idx="48">
                  <c:v>5.5619290598686319E-3</c:v>
                </c:pt>
                <c:pt idx="49">
                  <c:v>5.2729271885327087E-3</c:v>
                </c:pt>
                <c:pt idx="50">
                  <c:v>5.2225599465436099E-3</c:v>
                </c:pt>
                <c:pt idx="51">
                  <c:v>5.0381932067734281E-3</c:v>
                </c:pt>
                <c:pt idx="52">
                  <c:v>4.8412034938976976E-3</c:v>
                </c:pt>
                <c:pt idx="53">
                  <c:v>4.8133946380506032E-3</c:v>
                </c:pt>
                <c:pt idx="54">
                  <c:v>4.7132541160969637E-3</c:v>
                </c:pt>
                <c:pt idx="55">
                  <c:v>4.6009115274215457E-3</c:v>
                </c:pt>
                <c:pt idx="56">
                  <c:v>4.5382558913524048E-3</c:v>
                </c:pt>
                <c:pt idx="57">
                  <c:v>4.1662091711238093E-3</c:v>
                </c:pt>
                <c:pt idx="58">
                  <c:v>4.10809890659713E-3</c:v>
                </c:pt>
                <c:pt idx="59">
                  <c:v>3.9479956816420043E-3</c:v>
                </c:pt>
                <c:pt idx="60">
                  <c:v>3.7864404082746097E-3</c:v>
                </c:pt>
                <c:pt idx="61">
                  <c:v>3.64994275963162E-3</c:v>
                </c:pt>
                <c:pt idx="62">
                  <c:v>3.4584984668234674E-3</c:v>
                </c:pt>
                <c:pt idx="63">
                  <c:v>3.0910096478273443E-3</c:v>
                </c:pt>
                <c:pt idx="64">
                  <c:v>3.0573002873687046E-3</c:v>
                </c:pt>
                <c:pt idx="65">
                  <c:v>2.7895105206835031E-3</c:v>
                </c:pt>
                <c:pt idx="66">
                  <c:v>2.6846332831845254E-3</c:v>
                </c:pt>
                <c:pt idx="67">
                  <c:v>1.8661119795108259E-3</c:v>
                </c:pt>
                <c:pt idx="68">
                  <c:v>1.8168748342503862E-3</c:v>
                </c:pt>
                <c:pt idx="69">
                  <c:v>1.652367260858361E-3</c:v>
                </c:pt>
                <c:pt idx="70">
                  <c:v>1.6349626848318549E-3</c:v>
                </c:pt>
                <c:pt idx="71">
                  <c:v>1.5076557454510161E-3</c:v>
                </c:pt>
                <c:pt idx="72">
                  <c:v>1.4854052847174232E-3</c:v>
                </c:pt>
                <c:pt idx="73">
                  <c:v>1.292075900621999E-3</c:v>
                </c:pt>
                <c:pt idx="74">
                  <c:v>1.2309347209910283E-3</c:v>
                </c:pt>
                <c:pt idx="75">
                  <c:v>1.155553454898514E-3</c:v>
                </c:pt>
                <c:pt idx="76">
                  <c:v>1.1226724344538088E-3</c:v>
                </c:pt>
                <c:pt idx="77">
                  <c:v>1.082968795137088E-3</c:v>
                </c:pt>
                <c:pt idx="78">
                  <c:v>9.2110194257352175E-4</c:v>
                </c:pt>
                <c:pt idx="79">
                  <c:v>7.156792803173198E-4</c:v>
                </c:pt>
                <c:pt idx="80">
                  <c:v>6.196993447300451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4/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4/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7.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8.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2.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7.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7.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7.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1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oleObject" Target="../embeddings/oleObject27.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67615-AD81-790E-EEDC-5D58AC25BFD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F3E630C-6D78-834B-3974-DE16E3698121}"/>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1D19636-BCDD-53DB-5C5F-D470B8E5BA14}"/>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A83B1125-456B-60D0-9E8A-B0A35E6274FF}"/>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FA4F6235-8940-A222-60D4-D21884A97AE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09DBF94-D804-1CE8-5DE0-B54E8CDC385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0DF4BAAD-B9BA-F2A1-7A99-F145C022CAEC}"/>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A5BB97F6-984C-D815-5C82-640D7DB7181A}"/>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F716FC74-0141-FA5D-CA60-8B431AA5E210}"/>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167BA0F0-9A6C-0643-7360-86F6C6C1476D}"/>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D45227CD-9FFA-8AFC-75AA-1BB6F3FF341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7BF1720-9BA6-E11F-E316-49F20784C2D9}"/>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53839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A64D8A-2440-185D-C0C9-FE36F24BC2C3}"/>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04F8FB-50EB-695F-2E2E-DEADB3858E95}"/>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1F301B8-60F6-8106-AF4E-E3FB32EA3EE2}"/>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786B3DE0-CD99-1C0F-2E73-5F1A47F5B3DE}"/>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184DE3E9-B9C3-77D6-4883-2651676A624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DAF5B9A0-844C-BA70-E54F-02F28DDCE30B}"/>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FBB05B-849D-BF3B-BDE8-694AD464D84F}"/>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6FA043A8-0D9D-F2DE-9A71-8658EA4A34D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A3605A4-2DC2-F52F-AC41-CB95F08BB898}"/>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230CE0AE-CCFF-68FE-9177-A579BA1D8420}"/>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47AFFB12-323A-5594-36F5-61D56C4C0590}"/>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7023C433-A7B1-F7B3-4355-CD4698688BA2}"/>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27761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56591-5927-09CC-DE88-C3B99989FE4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E459482-B17C-A08E-F3D2-CDCAB95A958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403BB932-B4AA-E9A4-0E74-D81A25F937EC}"/>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5139BDDD-72BF-8F71-60DB-6308DC2A04D8}"/>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6FE9F61-2BF8-BCED-A36E-A1234E939A0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AEB7339-08A7-D3B0-781B-E6C60A00AB8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370DDF7-7048-E0FD-22F9-B1F694AB3821}"/>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85EB7584-57AA-B9CC-0152-8334B0A55F4C}"/>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AC5041BD-38AB-0CCA-AA78-D4CDD2B623A9}"/>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81118FFF-6FC7-262C-A957-4969E1F68292}"/>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2117FCDA-71D9-B55A-4742-75675552D75C}"/>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140486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9AAF0-5C50-A365-29F0-23DA5C31A8B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FEC93D8-D7C8-8BC1-D2C6-69B2E2ED45A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B29ABB8-0C38-A9E3-BFD0-1AA7110EABEE}"/>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9E9BD8C4-2588-08B5-F8D7-E6C137F22E6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0C0649E9-AD24-FB39-24A5-6AD308C435E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9872E731-1B5D-B321-BF87-C1734CAFDA4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C7CDE9DD-519B-89DF-66BE-85395BDE1965}"/>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F44547D7-CB3F-C427-4CDF-0F19848FBF71}"/>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50B5B63-7882-A915-5AD1-8F90F16E2C61}"/>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C51E7987-84A2-C618-72B8-9EEF80A300FD}"/>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95395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FB570-2B8E-FF2C-E472-AA14E210644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009B62E-5FC3-CB41-D4C0-522FF4327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3B06824D-BEE7-56FF-D4A3-DE0F1B5AF15B}"/>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C142B4E4-B3E8-D7B5-B6E1-62364861FFA0}"/>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75248901-C495-0A1E-72A2-978316CADC60}"/>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C98A1B3-B549-E22A-69BF-44BE5EE73EB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CA3FA881-D8E8-DEA0-D597-31CA2C76CC5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8FE9587A-50D8-3488-2020-0D2E22B06BB7}"/>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6F6A6434-420F-7BA7-EC01-302B81F894BE}"/>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0549152D-D8A3-CE62-5668-B2D0F21ECDEE}"/>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5DAC9A67-AEC7-6A4E-E7A8-9A2BA18BAD2D}"/>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35C77151-4994-3072-F125-A3ABC87C51D7}"/>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F2D3FC9-9D05-E7EA-59E5-3BF88428FF7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494E4AC2-8547-A334-8781-92B56F1BDE36}"/>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102570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8C4E4-1E87-5B62-3698-5E4ED6837897}"/>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FC33157-512E-DD3B-A1B7-48103909F05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79272DE5-78EE-2CB5-99B1-77B4A80FBF53}"/>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732A3CAC-C52E-13E0-9913-87E2C93E359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F51B627-86A1-196F-F730-ED901B2FBB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A2F4EE65-0102-CA10-1852-155E9155125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24671848-698E-26FC-C8D4-BAFBE62445D5}"/>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C43CC58A-8EFB-1CA0-096D-748599205A2C}"/>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E8C8268F-3F2D-D3B4-7339-B924122A0497}"/>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FC72EDC6-BAC3-015D-F3D8-19141CFDC993}"/>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405EBCC0-712E-62D6-D811-2D0C59C7DA3F}"/>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6665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1CC91-2213-FD04-54EB-39C8731A663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55812B0-3647-A4E2-93DC-E9D5433523D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607C6B7-2880-2D2E-B362-BA47478C770C}"/>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86CDFAF2-4ECD-7939-44C3-AD8B66A9296D}"/>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31070FD0-B9AD-0667-8934-BD7175BE049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8" name="Text Placeholder 7">
            <a:extLst>
              <a:ext uri="{FF2B5EF4-FFF2-40B4-BE49-F238E27FC236}">
                <a16:creationId xmlns:a16="http://schemas.microsoft.com/office/drawing/2014/main" id="{A52B541C-8FDA-2599-887A-5F23451DD84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9557D587-3BDE-A520-8F88-87411D805806}"/>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A68E3427-4EAB-FEA0-5E77-8446E71F5C5B}"/>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C4B4B025-7AB2-6683-8D6C-EC7DB76F91F2}"/>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42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826AC7-A8A1-C380-A178-939C8082BFB8}"/>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ADBF256E-DC80-2959-18E9-88B0DE6E2044}"/>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56199A6D-DF9C-083F-0D9E-736D677037A6}"/>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95946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8C9AB-E7E5-6BA5-C0FC-D170CB3AB9D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2549C72-4EE0-5721-D66D-A560292323C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02D3CBEE-B650-6FD9-A4CD-9BF59878547F}"/>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E1EE5A0-67D3-B0F1-F775-9C51D5B27DDC}"/>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AF85B2BC-0F56-1443-E85B-8C673080887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C0DEF6CB-8F56-AF4E-2E48-0E9C900FDDE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0" name="Content Placeholder 9">
            <a:extLst>
              <a:ext uri="{FF2B5EF4-FFF2-40B4-BE49-F238E27FC236}">
                <a16:creationId xmlns:a16="http://schemas.microsoft.com/office/drawing/2014/main" id="{3C1276EF-C497-102F-97EC-E738AA39A1B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763C5F53-D218-50BE-CC88-4963CF1A8DFD}"/>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A90E9B9C-B231-6A68-C478-222681C5295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2AB3B2E0-7FDF-D0A7-CBCD-345519C9E626}"/>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8DC2C1D-B026-0108-74AE-B7A9F712BB91}"/>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41DC5AEC-4E6E-4FF2-7C13-EBA4B37399B2}"/>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2E221BBA-3D70-E89C-DF1A-2A918279AAD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7C3D8C14-1444-504F-12B5-30371FE2D307}"/>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446277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BF56-0AE9-36CE-B01B-F8A3ADF751DA}"/>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9F89338-FDA7-B651-5E89-B421B51C14F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F907A4AD-7274-D096-F106-D6AA1B600A29}"/>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E47CC168-E4FD-F82A-AB6A-BFCEC82DD03C}"/>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2F0931F0-E88A-81F3-667E-1A2702B30A9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dirty="0"/>
          </a:p>
        </p:txBody>
      </p:sp>
      <p:sp>
        <p:nvSpPr>
          <p:cNvPr id="8" name="Text Placeholder 7">
            <a:extLst>
              <a:ext uri="{FF2B5EF4-FFF2-40B4-BE49-F238E27FC236}">
                <a16:creationId xmlns:a16="http://schemas.microsoft.com/office/drawing/2014/main" id="{202946C9-7205-8ADE-72F3-315A37896B1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33592F47-5705-3289-2C0B-5B93B808DA6B}"/>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E3F76601-B14D-09A1-5AF2-E3C31CEC214B}"/>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A10DDDF3-5169-3C34-25D9-C0D8580B6EA2}"/>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CAB7D104-D037-59AD-4D03-9BF09369FDE5}"/>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C217DDBA-E994-818C-0C83-6BBD5D4E195C}"/>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19615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8960A1-D6C4-49BE-5ABA-A6B5CBE9757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54F4E96-44D5-C66A-54DF-5137183A8C2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C865AC27-902E-DA56-A389-68794C8729E6}"/>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2DFFBD22-9BA8-DA38-44DC-FE1EA9459B2B}"/>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BE1ECEA7-D747-646D-84B6-14CA1B6B5D4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4CC9D739-2884-BEE7-BD45-D3B789BB8E4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5CDBD4C4-D3F4-CD69-D4F3-AB6522BFD3F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A2ECC5E8-98E0-A1EE-9013-56CC88D146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0AE81364-0C23-940A-AEAE-421C240E1676}"/>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999690AA-B2F7-32D6-4707-593F00DD438A}"/>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0FAE340A-6D99-4574-D55D-1392686D4196}"/>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87487FD2-A06E-9DF7-F94F-0471766CBA3A}"/>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2715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95452-FD86-868B-6269-7B3D417A4B9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736A960-BF2D-A652-5133-56B663DF104F}"/>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AA0B5386-E2DD-978B-6F75-7D9076359B76}"/>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965A09EE-51F4-0197-A8A0-D99F30C66C1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5654DC83-2782-91CB-2D25-819A135F39B7}"/>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9C605DF-D39C-06D0-D9EB-D1EA4D16FF3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0" name="Content Placeholder 9">
            <a:extLst>
              <a:ext uri="{FF2B5EF4-FFF2-40B4-BE49-F238E27FC236}">
                <a16:creationId xmlns:a16="http://schemas.microsoft.com/office/drawing/2014/main" id="{08EFFDE1-4CA5-00B8-2A00-B0EB58375F3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D1F92C0E-5E5B-7AA9-AB97-87BC6F551300}"/>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9A8B69DF-6ADD-2DED-4EFB-3E121F0CA454}"/>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CD6BB37-67F4-5D1C-C942-6870616631F0}"/>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0C984500-3745-AF1F-68CA-6AEC5FF47A5F}"/>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DEA0F13C-CEB3-1ED4-ED8D-9F88CD8F070E}"/>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7D8FF086-8C08-F176-964D-32BEB65294F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77237399-AE13-4B83-717F-1DA36C65C48D}"/>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4F32AF2-AB8E-A80D-7B5B-01F150B1F552}"/>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66162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2C6D4-FB73-5E56-34F3-54A78531CC8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A9AC9AF-1A84-572C-5D2F-D1C0B56F9F7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8590C214-F8A0-9981-FCBB-AD8D3BF42F29}"/>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2BFB5D01-BEB2-0C87-0EA6-A8A7031F22C4}"/>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A8FCD1C-9197-6FCD-B40F-BA3A2951A1A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dirty="0"/>
          </a:p>
        </p:txBody>
      </p:sp>
      <p:sp>
        <p:nvSpPr>
          <p:cNvPr id="8" name="Text Placeholder 7">
            <a:extLst>
              <a:ext uri="{FF2B5EF4-FFF2-40B4-BE49-F238E27FC236}">
                <a16:creationId xmlns:a16="http://schemas.microsoft.com/office/drawing/2014/main" id="{68D57B69-E016-66D6-5D60-E346C92D06A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CA9D7DAA-0BE8-19FF-0B81-CAEA0B2E44F7}"/>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55300EC1-2771-B991-425E-B71125CC2601}"/>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7807F85F-BCE6-BE30-BEA3-43F33A9F96EC}"/>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590C7EC5-2E1D-0391-736B-29411F19A219}"/>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63B367FC-BF65-38BF-ECD1-1F551C393B8B}"/>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22790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40159-4BB2-F7EC-6D4E-5D22D66D8EF7}"/>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8971EF4-6BA3-E3FF-884F-6C729C24037E}"/>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4664D839-611B-057B-BE55-A9A12FB4D3E2}"/>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23A51ABF-1A12-936A-C007-BE060C7975D1}"/>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69A98FC9-01C6-E801-748B-78232376BFF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dirty="0"/>
          </a:p>
        </p:txBody>
      </p:sp>
      <p:sp>
        <p:nvSpPr>
          <p:cNvPr id="8" name="Text Placeholder 7">
            <a:extLst>
              <a:ext uri="{FF2B5EF4-FFF2-40B4-BE49-F238E27FC236}">
                <a16:creationId xmlns:a16="http://schemas.microsoft.com/office/drawing/2014/main" id="{31D6F70B-B9AB-BD2D-8924-A9E1EF1E999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6E3D7197-163B-ACAC-1E6A-257659331DEB}"/>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A7FDD551-29DF-CCA2-8175-D70B91CA364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2009548E-2756-7239-1495-542CB44B502A}"/>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7F1EECCD-A1A7-D6E1-6B6F-FFCD434250C4}"/>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9DB20A32-7DEA-BA24-7256-AAC2A293C596}"/>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2931546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33670-E172-401B-434A-BF827D09A4D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4A1E6E2-E313-7FEB-23BD-500D84A0D17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9F62DBD-5F1E-1AD2-E8D1-40DFA1C24685}"/>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70B37D34-3DA8-9826-36C0-C3B066BE4E6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C6DFCC2-EDC1-D7A5-5423-1150677AB3A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FAE12EB2-C243-08EB-C13C-DD33092CDD9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A411ABD6-862A-3657-1744-41A16313ECC5}"/>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C9304DD6-F20D-A1F2-0862-3D0DE5CF9185}"/>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C82233FE-A53A-C052-47FF-F921929A045B}"/>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5A75CFD6-B296-75D4-58E5-346869B627F1}"/>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E0E6E4F7-6871-C5D3-A1E0-B1E7F4FCBF8C}"/>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1856EFD8-4195-E5DE-56C5-998FB2A13B47}"/>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5C40D608-E8B2-E779-35C9-D320FF7AD1BB}"/>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5796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0CEED-635F-DD5F-04CB-FD0B686F5FD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258F411-FD22-5A87-7580-3983C8BFAD9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21AB3D1-8347-B909-9C50-ABC9EEB81E4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9D597474-06A5-13EB-8480-29F18E481C1D}"/>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A2B38EFC-C5DC-E6F2-49AF-B5538B87E8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8" name="Text Placeholder 7">
            <a:extLst>
              <a:ext uri="{FF2B5EF4-FFF2-40B4-BE49-F238E27FC236}">
                <a16:creationId xmlns:a16="http://schemas.microsoft.com/office/drawing/2014/main" id="{A2455F1D-9664-22C4-EB2B-75EEF5FED53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9ED670A-DD79-2FDF-C43E-B2B8CF79EA73}"/>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2008A0F-43C8-A7F3-46D2-F567DBCCBAD3}"/>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7A8F30F-DA5A-AC09-4E25-8787BC1B9A0C}"/>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3ED26351-F674-B57C-2769-68C2D9298E14}"/>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29224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30613-20D5-BB82-2DB3-F384E2E53D0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B564F8D-B4D5-45ED-8FFA-BF24D17668B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84FBFD51-ACCD-582C-3185-F4A856D9BA72}"/>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9EC44F28-F935-585E-9AFF-BFF99D021E0F}"/>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3308C4E0-8CC7-1C45-F77A-CF408BC95A0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A0B0814E-BE00-A891-3022-1D68BAF0E41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3829F70A-E0E6-D6F0-B62C-B1C771DDA44C}"/>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603FCF1B-7317-72CE-DCF8-A483F7DFF157}"/>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6D6ACDA-FCFA-C1DE-F124-AB8DC865C340}"/>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5A60B60C-55BA-B410-4E5A-490E24BA7B5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2F08601B-8D44-E403-C294-6F7DF0D0AA4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A7A2DB9B-15A1-D657-113D-951E23C25BF5}"/>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33282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6625F-760B-0852-4EA3-5B8E33138D6A}"/>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80F2A06-06B0-85F1-120B-9E1B69749072}"/>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3055B326-2FFC-4D51-A0D4-3D64D7D89019}"/>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3C072811-9743-08CC-0B06-4D1B30FCD838}"/>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A613EB29-01C2-89CA-5C5C-0FCF34FC1F5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dirty="0"/>
          </a:p>
        </p:txBody>
      </p:sp>
      <p:sp>
        <p:nvSpPr>
          <p:cNvPr id="8" name="Text Placeholder 7">
            <a:extLst>
              <a:ext uri="{FF2B5EF4-FFF2-40B4-BE49-F238E27FC236}">
                <a16:creationId xmlns:a16="http://schemas.microsoft.com/office/drawing/2014/main" id="{1CC16CAC-32EB-E4C0-3988-25EC4559A3B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2592129E-7DA4-9DFC-BF20-BF820CBB0D37}"/>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CE24D49B-EF13-313D-C28F-01B37191192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4D6D837E-1D81-9471-FE99-58A8AA43A34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8947CF5-6E6B-CB22-E6D1-A3FDCEDF10F0}"/>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5F9DBA33-4FD9-E7D0-0856-70FC44671771}"/>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09399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48303-B3BE-4B5B-A565-76F13F42A42A}"/>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DAB43F4-EB1B-B71A-D0C2-7BA56314EB7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DC2FBE68-B2FA-02C5-7633-58307FCBCAFA}"/>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957821B-1DD4-79D7-77CC-E0ABD457C4FB}"/>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60716DD2-C986-87E2-45DC-5400E553237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8" name="Text Placeholder 7">
            <a:extLst>
              <a:ext uri="{FF2B5EF4-FFF2-40B4-BE49-F238E27FC236}">
                <a16:creationId xmlns:a16="http://schemas.microsoft.com/office/drawing/2014/main" id="{8C58AD4E-2DB8-5600-E274-761FD00C697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CAE8D57-8681-2285-53BE-46B96CC39A9D}"/>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7D75F525-DC67-469C-CDB5-110BD0F2D7D3}"/>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790FB6A0-9F45-3885-6F87-58D1D55DAA59}"/>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9041A35-95A4-0E0B-56EC-D1B23E8A6FAB}"/>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0023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E2BE51-2D0B-41CE-913F-25E6AD2FEFA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30AD8C6-8032-9A22-60F6-44CF5CBCE218}"/>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5C29B1A-F880-C4E2-25E4-D4D6C4A1EC7C}"/>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A60FCB4B-5C22-5969-196F-8A1898BEBA4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1B0A174E-E33D-3283-ABAE-AB1D19231C9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1CEA33A-8D63-8BEF-5FA2-671A67A264C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143EB114-6F5A-D15E-8598-8392E58CC3F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29304638-28C6-D930-0A4F-F85C2BEDE23A}"/>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EB418728-F8F4-44E3-2CEB-B386BC66E54C}"/>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4B03080D-AF6B-15DE-E3C3-DBD8A2E8452D}"/>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8E88C534-51E7-CE9D-1A0C-C10D2C5552F3}"/>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213C1676-523B-44E6-358A-10163279491D}"/>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444A18E8-3519-9FB9-6FB1-FC1CC6624658}"/>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89FE662-7712-86F3-FCD0-020E34B5303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1FDCA0AB-8967-E980-3747-052DBF323CAB}"/>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945483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1C02E-E54C-800B-4A02-0B3284DA050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B7CEF38-7FC2-ECED-9502-65C25F232CB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49ABEB1C-CE93-BC4C-89F2-18DED93AC0BA}"/>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A0D7C037-5383-C8B5-461A-FCC863A807D4}"/>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8A3473A4-D5DE-BD57-4A33-4EC00160E1C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1F20912C-7E0B-0AE5-8922-8F38AB09693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89D066FA-14EC-DE2E-BF4A-1C0D0C763233}"/>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D2E6D2D0-65C5-9BF8-61B6-5D7683ECD85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7931CD6-979A-AD5A-3620-880A3EEF47E4}"/>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996C902-D0C2-B752-826C-E528BF681DA2}"/>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B76B4696-4E3A-E94A-AEF7-DDE3CAB7B81C}"/>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30721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3F41E-BBF1-E6B8-78A6-B4B69CE5877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568F624-EEAA-C4C7-78FF-E9E54D4A6DE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5C846CA-2D3A-BA7A-6D26-E099035ACC3C}"/>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7889936-DBCF-D9E8-AD88-9CC1808E89A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8450D688-D2FB-7AC3-DEA9-A60EEECBBCB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93E8495C-77F9-E202-A202-AC53C8B079E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CE7B79C9-A528-6BE4-3CB8-00886CA6B468}"/>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200">
                <a:latin typeface="Nexa Bold (Headings)"/>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DD5E44CE-9CA5-2658-115A-6FF4DECDAE0B}"/>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174596FC-7A4B-C900-62BE-8BD38652EE14}"/>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74543115-5504-C512-36F7-A7260F162A33}"/>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EEB6D4DB-F9C6-DD5A-EF06-438557C4D076}"/>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B0A9B583-F73E-788E-AB05-BE7FA644D8F7}"/>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DF9FC86E-B89E-FE48-2904-822290923E76}"/>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4638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0</Words>
  <Application>Microsoft Office PowerPoint</Application>
  <PresentationFormat>On-screen Show (16:9)</PresentationFormat>
  <Paragraphs>524</Paragraphs>
  <Slides>21</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20:01Z</dcterms:created>
  <dcterms:modified xsi:type="dcterms:W3CDTF">2025-07-24T10:3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